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3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42.xml" ContentType="application/vnd.openxmlformats-officedocument.presentationml.tags+xml"/>
  <Override PartName="/ppt/notesSlides/notesSlide4.xml" ContentType="application/vnd.openxmlformats-officedocument.presentationml.notesSlide+xml"/>
  <Override PartName="/ppt/tags/tag43.xml" ContentType="application/vnd.openxmlformats-officedocument.presentationml.tags+xml"/>
  <Override PartName="/ppt/notesSlides/notesSlide5.xml" ContentType="application/vnd.openxmlformats-officedocument.presentationml.notesSlid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notesSlides/notesSlide6.xml" ContentType="application/vnd.openxmlformats-officedocument.presentationml.notesSlid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60" r:id="rId4"/>
    <p:sldMasterId id="2147483690" r:id="rId5"/>
    <p:sldMasterId id="2147483678" r:id="rId6"/>
  </p:sldMasterIdLst>
  <p:notesMasterIdLst>
    <p:notesMasterId r:id="rId22"/>
  </p:notesMasterIdLst>
  <p:handoutMasterIdLst>
    <p:handoutMasterId r:id="rId23"/>
  </p:handoutMasterIdLst>
  <p:sldIdLst>
    <p:sldId id="291" r:id="rId7"/>
    <p:sldId id="292" r:id="rId8"/>
    <p:sldId id="293" r:id="rId9"/>
    <p:sldId id="301" r:id="rId10"/>
    <p:sldId id="280" r:id="rId11"/>
    <p:sldId id="308" r:id="rId12"/>
    <p:sldId id="262" r:id="rId13"/>
    <p:sldId id="297" r:id="rId14"/>
    <p:sldId id="258" r:id="rId15"/>
    <p:sldId id="299" r:id="rId16"/>
    <p:sldId id="285" r:id="rId17"/>
    <p:sldId id="305" r:id="rId18"/>
    <p:sldId id="282" r:id="rId19"/>
    <p:sldId id="302" r:id="rId20"/>
    <p:sldId id="269" r:id="rId21"/>
  </p:sldIdLst>
  <p:sldSz cx="12192000" cy="6858000"/>
  <p:notesSz cx="6858000" cy="914400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1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B2228"/>
    <a:srgbClr val="FEFEFD"/>
    <a:srgbClr val="0D365D"/>
    <a:srgbClr val="63656B"/>
    <a:srgbClr val="1C1C1D"/>
    <a:srgbClr val="FFFFFF"/>
    <a:srgbClr val="E7001A"/>
    <a:srgbClr val="E41F35"/>
    <a:srgbClr val="AB2327"/>
    <a:srgbClr val="EE5C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025" autoAdjust="0"/>
    <p:restoredTop sz="91839" autoAdjust="0"/>
  </p:normalViewPr>
  <p:slideViewPr>
    <p:cSldViewPr snapToGrid="0">
      <p:cViewPr varScale="1">
        <p:scale>
          <a:sx n="106" d="100"/>
          <a:sy n="106" d="100"/>
        </p:scale>
        <p:origin x="354" y="96"/>
      </p:cViewPr>
      <p:guideLst>
        <p:guide orient="horz" pos="2160"/>
        <p:guide pos="381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97" d="100"/>
          <a:sy n="97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tags" Target="tags/tag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4349A0CA-19C7-EA48-A0A3-DC4B89B0BD7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7D841CB-BC00-2C49-BB44-AE4A37AACBE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0B48008-7972-9E41-83EA-F9693AF6AE93}" type="datetimeFigureOut">
              <a:rPr lang="en-US" smtClean="0"/>
              <a:t>2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193F442-95F2-D747-9D2D-BABA2573CD6F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893607E-D73F-4140-9777-BE07799653C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9FA03F-6420-0644-A612-869BCF590AD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33463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E85E70-50BF-3C41-9579-FD4E815028A4}" type="datetimeFigureOut">
              <a:rPr lang="en-US" smtClean="0"/>
              <a:t>1/3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3B23AE6-B4CE-5E4F-82B3-FA97ABC36E0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4830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63986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/>
              <a:t>Competitive deployment method cost    $4.84/unit</a:t>
            </a:r>
          </a:p>
          <a:p>
            <a:r>
              <a:rPr lang="en-US" b="1" dirty="0"/>
              <a:t>SIMPLY.connect deployment method cost            $1.45/unit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DE3BE-0166-48D6-BDED-F02951E63E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4689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With RL RAP a customer can go from isolated automation and process control application to full </a:t>
            </a:r>
            <a:r>
              <a:rPr lang="en-US" b="0" dirty="0" err="1"/>
              <a:t>IIoT</a:t>
            </a:r>
            <a:r>
              <a:rPr lang="en-US" b="0" dirty="0"/>
              <a:t> in minut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E1DE3BE-0166-48D6-BDED-F02951E63ED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05465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RL has been selling remote access for years but the one component that’s been missing is an RL managed remote access server. Customers find it too much of a hassle to manage their own servers. RL gives them a remote access solution with a complete </a:t>
            </a:r>
            <a:r>
              <a:rPr lang="en-US" dirty="0" err="1"/>
              <a:t>IIoT</a:t>
            </a:r>
            <a:r>
              <a:rPr lang="en-US" dirty="0"/>
              <a:t> solution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946907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0" dirty="0"/>
              <a:t>1 free account per customer</a:t>
            </a:r>
          </a:p>
          <a:p>
            <a:r>
              <a:rPr lang="en-US" b="0" dirty="0"/>
              <a:t>The account name is tied to the customer’s domain name</a:t>
            </a:r>
          </a:p>
          <a:p>
            <a:r>
              <a:rPr lang="en-US" b="0" dirty="0"/>
              <a:t>* means that the feature can be increased by purchasing a license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22415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982884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SAM/TAM will </a:t>
            </a:r>
            <a:r>
              <a:rPr lang="en-US" dirty="0" err="1"/>
              <a:t>sharescreen</a:t>
            </a:r>
            <a:r>
              <a:rPr lang="en-US" dirty="0"/>
              <a:t> and go over pricing with the channel partner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3B23AE6-B4CE-5E4F-82B3-FA97ABC36E0E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0158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3.xml"/><Relationship Id="rId7" Type="http://schemas.openxmlformats.org/officeDocument/2006/relationships/image" Target="../media/image1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25.xml"/><Relationship Id="rId7" Type="http://schemas.openxmlformats.org/officeDocument/2006/relationships/image" Target="../media/image1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8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8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8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ags" Target="../tags/tag40.xml"/><Relationship Id="rId7" Type="http://schemas.openxmlformats.org/officeDocument/2006/relationships/image" Target="../media/image10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2.jpeg"/><Relationship Id="rId2" Type="http://schemas.openxmlformats.org/officeDocument/2006/relationships/tags" Target="../tags/tag41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13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7.xml"/><Relationship Id="rId7" Type="http://schemas.openxmlformats.org/officeDocument/2006/relationships/image" Target="../media/image2.jpe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6.sv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8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8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8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8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WhiteRight-Facing Triangle">
            <a:extLst>
              <a:ext uri="{FF2B5EF4-FFF2-40B4-BE49-F238E27FC236}">
                <a16:creationId xmlns:a16="http://schemas.microsoft.com/office/drawing/2014/main" id="{3F302D87-F3CE-1D42-9655-10BA124C3063}"/>
              </a:ext>
            </a:extLst>
          </p:cNvPr>
          <p:cNvSpPr/>
          <p:nvPr userDrawn="1"/>
        </p:nvSpPr>
        <p:spPr>
          <a:xfrm rot="5400000">
            <a:off x="2205988" y="2479956"/>
            <a:ext cx="7416884" cy="1868041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342900" sx="112000" sy="1120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89E7A6DE-BBE6-8844-B240-11CF83C912BE}"/>
              </a:ext>
            </a:extLst>
          </p:cNvPr>
          <p:cNvSpPr/>
          <p:nvPr userDrawn="1"/>
        </p:nvSpPr>
        <p:spPr>
          <a:xfrm>
            <a:off x="-213577" y="0"/>
            <a:ext cx="519398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BE4D579-1982-F441-B59B-4DF93BBB05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890"/>
          <a:stretch/>
        </p:blipFill>
        <p:spPr>
          <a:xfrm rot="10800000" flipH="1">
            <a:off x="-212432" y="0"/>
            <a:ext cx="3545305" cy="6858000"/>
          </a:xfrm>
          <a:prstGeom prst="rect">
            <a:avLst/>
          </a:prstGeom>
        </p:spPr>
      </p:pic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29095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43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832104" y="2066544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 dirty="0"/>
              <a:t>Click to Edit Content and Copy</a:t>
            </a:r>
          </a:p>
        </p:txBody>
      </p:sp>
      <p:sp>
        <p:nvSpPr>
          <p:cNvPr id="14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832104" y="3113532"/>
            <a:ext cx="4636008" cy="35661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 baseline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title of Presentation</a:t>
            </a:r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DB25E26E-F9F3-DB48-9506-EF31E1680571}"/>
              </a:ext>
            </a:extLst>
          </p:cNvPr>
          <p:cNvSpPr/>
          <p:nvPr userDrawn="1"/>
        </p:nvSpPr>
        <p:spPr>
          <a:xfrm rot="820535">
            <a:off x="10875526" y="939468"/>
            <a:ext cx="1082939" cy="6141997"/>
          </a:xfrm>
          <a:custGeom>
            <a:avLst/>
            <a:gdLst>
              <a:gd name="connsiteX0" fmla="*/ 0 w 1019381"/>
              <a:gd name="connsiteY0" fmla="*/ 8502129 h 8502129"/>
              <a:gd name="connsiteX1" fmla="*/ 254845 w 1019381"/>
              <a:gd name="connsiteY1" fmla="*/ 0 h 8502129"/>
              <a:gd name="connsiteX2" fmla="*/ 1019381 w 1019381"/>
              <a:gd name="connsiteY2" fmla="*/ 0 h 8502129"/>
              <a:gd name="connsiteX3" fmla="*/ 764536 w 1019381"/>
              <a:gd name="connsiteY3" fmla="*/ 8502129 h 8502129"/>
              <a:gd name="connsiteX4" fmla="*/ 0 w 1019381"/>
              <a:gd name="connsiteY4" fmla="*/ 8502129 h 8502129"/>
              <a:gd name="connsiteX0" fmla="*/ 0 w 1019381"/>
              <a:gd name="connsiteY0" fmla="*/ 8502129 h 8502129"/>
              <a:gd name="connsiteX1" fmla="*/ 254845 w 1019381"/>
              <a:gd name="connsiteY1" fmla="*/ 0 h 8502129"/>
              <a:gd name="connsiteX2" fmla="*/ 1019381 w 1019381"/>
              <a:gd name="connsiteY2" fmla="*/ 0 h 8502129"/>
              <a:gd name="connsiteX3" fmla="*/ 809485 w 1019381"/>
              <a:gd name="connsiteY3" fmla="*/ 6976288 h 8502129"/>
              <a:gd name="connsiteX4" fmla="*/ 0 w 1019381"/>
              <a:gd name="connsiteY4" fmla="*/ 8502129 h 8502129"/>
              <a:gd name="connsiteX0" fmla="*/ 0 w 993603"/>
              <a:gd name="connsiteY0" fmla="*/ 7204515 h 7204515"/>
              <a:gd name="connsiteX1" fmla="*/ 229067 w 993603"/>
              <a:gd name="connsiteY1" fmla="*/ 0 h 7204515"/>
              <a:gd name="connsiteX2" fmla="*/ 993603 w 993603"/>
              <a:gd name="connsiteY2" fmla="*/ 0 h 7204515"/>
              <a:gd name="connsiteX3" fmla="*/ 783707 w 993603"/>
              <a:gd name="connsiteY3" fmla="*/ 6976288 h 7204515"/>
              <a:gd name="connsiteX4" fmla="*/ 0 w 993603"/>
              <a:gd name="connsiteY4" fmla="*/ 7204515 h 7204515"/>
              <a:gd name="connsiteX0" fmla="*/ 0 w 993603"/>
              <a:gd name="connsiteY0" fmla="*/ 7204515 h 7204515"/>
              <a:gd name="connsiteX1" fmla="*/ 189688 w 993603"/>
              <a:gd name="connsiteY1" fmla="*/ 1034930 h 7204515"/>
              <a:gd name="connsiteX2" fmla="*/ 993603 w 993603"/>
              <a:gd name="connsiteY2" fmla="*/ 0 h 7204515"/>
              <a:gd name="connsiteX3" fmla="*/ 783707 w 993603"/>
              <a:gd name="connsiteY3" fmla="*/ 6976288 h 7204515"/>
              <a:gd name="connsiteX4" fmla="*/ 0 w 993603"/>
              <a:gd name="connsiteY4" fmla="*/ 7204515 h 7204515"/>
              <a:gd name="connsiteX0" fmla="*/ 0 w 894121"/>
              <a:gd name="connsiteY0" fmla="*/ 6169585 h 6169585"/>
              <a:gd name="connsiteX1" fmla="*/ 189688 w 894121"/>
              <a:gd name="connsiteY1" fmla="*/ 0 h 6169585"/>
              <a:gd name="connsiteX2" fmla="*/ 894121 w 894121"/>
              <a:gd name="connsiteY2" fmla="*/ 2130868 h 6169585"/>
              <a:gd name="connsiteX3" fmla="*/ 783707 w 894121"/>
              <a:gd name="connsiteY3" fmla="*/ 5941358 h 6169585"/>
              <a:gd name="connsiteX4" fmla="*/ 0 w 894121"/>
              <a:gd name="connsiteY4" fmla="*/ 6169585 h 6169585"/>
              <a:gd name="connsiteX0" fmla="*/ 0 w 894121"/>
              <a:gd name="connsiteY0" fmla="*/ 6184950 h 6184950"/>
              <a:gd name="connsiteX1" fmla="*/ 239943 w 894121"/>
              <a:gd name="connsiteY1" fmla="*/ 0 h 6184950"/>
              <a:gd name="connsiteX2" fmla="*/ 894121 w 894121"/>
              <a:gd name="connsiteY2" fmla="*/ 2146233 h 6184950"/>
              <a:gd name="connsiteX3" fmla="*/ 783707 w 894121"/>
              <a:gd name="connsiteY3" fmla="*/ 5956723 h 6184950"/>
              <a:gd name="connsiteX4" fmla="*/ 0 w 894121"/>
              <a:gd name="connsiteY4" fmla="*/ 6184950 h 6184950"/>
              <a:gd name="connsiteX0" fmla="*/ 0 w 1068127"/>
              <a:gd name="connsiteY0" fmla="*/ 6184950 h 6184950"/>
              <a:gd name="connsiteX1" fmla="*/ 239943 w 1068127"/>
              <a:gd name="connsiteY1" fmla="*/ 0 h 6184950"/>
              <a:gd name="connsiteX2" fmla="*/ 1068127 w 1068127"/>
              <a:gd name="connsiteY2" fmla="*/ 715578 h 6184950"/>
              <a:gd name="connsiteX3" fmla="*/ 783707 w 1068127"/>
              <a:gd name="connsiteY3" fmla="*/ 5956723 h 6184950"/>
              <a:gd name="connsiteX4" fmla="*/ 0 w 1068127"/>
              <a:gd name="connsiteY4" fmla="*/ 6184950 h 6184950"/>
              <a:gd name="connsiteX0" fmla="*/ 0 w 1068127"/>
              <a:gd name="connsiteY0" fmla="*/ 7297485 h 7297485"/>
              <a:gd name="connsiteX1" fmla="*/ 681545 w 1068127"/>
              <a:gd name="connsiteY1" fmla="*/ 0 h 7297485"/>
              <a:gd name="connsiteX2" fmla="*/ 1068127 w 1068127"/>
              <a:gd name="connsiteY2" fmla="*/ 1828113 h 7297485"/>
              <a:gd name="connsiteX3" fmla="*/ 783707 w 1068127"/>
              <a:gd name="connsiteY3" fmla="*/ 7069258 h 7297485"/>
              <a:gd name="connsiteX4" fmla="*/ 0 w 1068127"/>
              <a:gd name="connsiteY4" fmla="*/ 7297485 h 7297485"/>
              <a:gd name="connsiteX0" fmla="*/ 0 w 1068127"/>
              <a:gd name="connsiteY0" fmla="*/ 7758084 h 7758084"/>
              <a:gd name="connsiteX1" fmla="*/ 636491 w 1068127"/>
              <a:gd name="connsiteY1" fmla="*/ 0 h 7758084"/>
              <a:gd name="connsiteX2" fmla="*/ 1068127 w 1068127"/>
              <a:gd name="connsiteY2" fmla="*/ 2288712 h 7758084"/>
              <a:gd name="connsiteX3" fmla="*/ 783707 w 1068127"/>
              <a:gd name="connsiteY3" fmla="*/ 7529857 h 7758084"/>
              <a:gd name="connsiteX4" fmla="*/ 0 w 1068127"/>
              <a:gd name="connsiteY4" fmla="*/ 7758084 h 7758084"/>
              <a:gd name="connsiteX0" fmla="*/ 0 w 1108474"/>
              <a:gd name="connsiteY0" fmla="*/ 7758084 h 7758084"/>
              <a:gd name="connsiteX1" fmla="*/ 636491 w 1108474"/>
              <a:gd name="connsiteY1" fmla="*/ 0 h 7758084"/>
              <a:gd name="connsiteX2" fmla="*/ 1108474 w 1108474"/>
              <a:gd name="connsiteY2" fmla="*/ 2888752 h 7758084"/>
              <a:gd name="connsiteX3" fmla="*/ 783707 w 1108474"/>
              <a:gd name="connsiteY3" fmla="*/ 7529857 h 7758084"/>
              <a:gd name="connsiteX4" fmla="*/ 0 w 1108474"/>
              <a:gd name="connsiteY4" fmla="*/ 7758084 h 7758084"/>
              <a:gd name="connsiteX0" fmla="*/ 0 w 1108474"/>
              <a:gd name="connsiteY0" fmla="*/ 7520989 h 7520989"/>
              <a:gd name="connsiteX1" fmla="*/ 635221 w 1108474"/>
              <a:gd name="connsiteY1" fmla="*/ 0 h 7520989"/>
              <a:gd name="connsiteX2" fmla="*/ 1108474 w 1108474"/>
              <a:gd name="connsiteY2" fmla="*/ 2651657 h 7520989"/>
              <a:gd name="connsiteX3" fmla="*/ 783707 w 1108474"/>
              <a:gd name="connsiteY3" fmla="*/ 7292762 h 7520989"/>
              <a:gd name="connsiteX4" fmla="*/ 0 w 1108474"/>
              <a:gd name="connsiteY4" fmla="*/ 7520989 h 7520989"/>
              <a:gd name="connsiteX0" fmla="*/ 0 w 1100330"/>
              <a:gd name="connsiteY0" fmla="*/ 7479208 h 7479208"/>
              <a:gd name="connsiteX1" fmla="*/ 627077 w 1100330"/>
              <a:gd name="connsiteY1" fmla="*/ 0 h 7479208"/>
              <a:gd name="connsiteX2" fmla="*/ 1100330 w 1100330"/>
              <a:gd name="connsiteY2" fmla="*/ 2651657 h 7479208"/>
              <a:gd name="connsiteX3" fmla="*/ 775563 w 1100330"/>
              <a:gd name="connsiteY3" fmla="*/ 7292762 h 7479208"/>
              <a:gd name="connsiteX4" fmla="*/ 0 w 1100330"/>
              <a:gd name="connsiteY4" fmla="*/ 7479208 h 7479208"/>
              <a:gd name="connsiteX0" fmla="*/ 0 w 1100330"/>
              <a:gd name="connsiteY0" fmla="*/ 7116763 h 7116763"/>
              <a:gd name="connsiteX1" fmla="*/ 601370 w 1100330"/>
              <a:gd name="connsiteY1" fmla="*/ 0 h 7116763"/>
              <a:gd name="connsiteX2" fmla="*/ 1100330 w 1100330"/>
              <a:gd name="connsiteY2" fmla="*/ 2289212 h 7116763"/>
              <a:gd name="connsiteX3" fmla="*/ 775563 w 1100330"/>
              <a:gd name="connsiteY3" fmla="*/ 6930317 h 7116763"/>
              <a:gd name="connsiteX4" fmla="*/ 0 w 1100330"/>
              <a:gd name="connsiteY4" fmla="*/ 7116763 h 7116763"/>
              <a:gd name="connsiteX0" fmla="*/ 0 w 1100330"/>
              <a:gd name="connsiteY0" fmla="*/ 7158048 h 7158048"/>
              <a:gd name="connsiteX1" fmla="*/ 676838 w 1100330"/>
              <a:gd name="connsiteY1" fmla="*/ 0 h 7158048"/>
              <a:gd name="connsiteX2" fmla="*/ 1100330 w 1100330"/>
              <a:gd name="connsiteY2" fmla="*/ 2330497 h 7158048"/>
              <a:gd name="connsiteX3" fmla="*/ 775563 w 1100330"/>
              <a:gd name="connsiteY3" fmla="*/ 6971602 h 7158048"/>
              <a:gd name="connsiteX4" fmla="*/ 0 w 1100330"/>
              <a:gd name="connsiteY4" fmla="*/ 7158048 h 7158048"/>
              <a:gd name="connsiteX0" fmla="*/ 0 w 1100330"/>
              <a:gd name="connsiteY0" fmla="*/ 7195796 h 7195796"/>
              <a:gd name="connsiteX1" fmla="*/ 601795 w 1100330"/>
              <a:gd name="connsiteY1" fmla="*/ 0 h 7195796"/>
              <a:gd name="connsiteX2" fmla="*/ 1100330 w 1100330"/>
              <a:gd name="connsiteY2" fmla="*/ 2368245 h 7195796"/>
              <a:gd name="connsiteX3" fmla="*/ 775563 w 1100330"/>
              <a:gd name="connsiteY3" fmla="*/ 7009350 h 7195796"/>
              <a:gd name="connsiteX4" fmla="*/ 0 w 1100330"/>
              <a:gd name="connsiteY4" fmla="*/ 7195796 h 7195796"/>
              <a:gd name="connsiteX0" fmla="*/ 0 w 1073439"/>
              <a:gd name="connsiteY0" fmla="*/ 7195796 h 7195796"/>
              <a:gd name="connsiteX1" fmla="*/ 601795 w 1073439"/>
              <a:gd name="connsiteY1" fmla="*/ 0 h 7195796"/>
              <a:gd name="connsiteX2" fmla="*/ 1073439 w 1073439"/>
              <a:gd name="connsiteY2" fmla="*/ 2420117 h 7195796"/>
              <a:gd name="connsiteX3" fmla="*/ 775563 w 1073439"/>
              <a:gd name="connsiteY3" fmla="*/ 7009350 h 7195796"/>
              <a:gd name="connsiteX4" fmla="*/ 0 w 1073439"/>
              <a:gd name="connsiteY4" fmla="*/ 7195796 h 7195796"/>
              <a:gd name="connsiteX0" fmla="*/ 0 w 1073439"/>
              <a:gd name="connsiteY0" fmla="*/ 7171737 h 7171737"/>
              <a:gd name="connsiteX1" fmla="*/ 569138 w 1073439"/>
              <a:gd name="connsiteY1" fmla="*/ 0 h 7171737"/>
              <a:gd name="connsiteX2" fmla="*/ 1073439 w 1073439"/>
              <a:gd name="connsiteY2" fmla="*/ 2396058 h 7171737"/>
              <a:gd name="connsiteX3" fmla="*/ 775563 w 1073439"/>
              <a:gd name="connsiteY3" fmla="*/ 6985291 h 7171737"/>
              <a:gd name="connsiteX4" fmla="*/ 0 w 1073439"/>
              <a:gd name="connsiteY4" fmla="*/ 7171737 h 7171737"/>
              <a:gd name="connsiteX0" fmla="*/ 0 w 1073439"/>
              <a:gd name="connsiteY0" fmla="*/ 7182246 h 7182246"/>
              <a:gd name="connsiteX1" fmla="*/ 588348 w 1073439"/>
              <a:gd name="connsiteY1" fmla="*/ 0 h 7182246"/>
              <a:gd name="connsiteX2" fmla="*/ 1073439 w 1073439"/>
              <a:gd name="connsiteY2" fmla="*/ 2406567 h 7182246"/>
              <a:gd name="connsiteX3" fmla="*/ 775563 w 1073439"/>
              <a:gd name="connsiteY3" fmla="*/ 6995800 h 7182246"/>
              <a:gd name="connsiteX4" fmla="*/ 0 w 1073439"/>
              <a:gd name="connsiteY4" fmla="*/ 7182246 h 7182246"/>
              <a:gd name="connsiteX0" fmla="*/ 0 w 1077477"/>
              <a:gd name="connsiteY0" fmla="*/ 7182246 h 7182246"/>
              <a:gd name="connsiteX1" fmla="*/ 588348 w 1077477"/>
              <a:gd name="connsiteY1" fmla="*/ 0 h 7182246"/>
              <a:gd name="connsiteX2" fmla="*/ 1077477 w 1077477"/>
              <a:gd name="connsiteY2" fmla="*/ 2405414 h 7182246"/>
              <a:gd name="connsiteX3" fmla="*/ 775563 w 1077477"/>
              <a:gd name="connsiteY3" fmla="*/ 6995800 h 7182246"/>
              <a:gd name="connsiteX4" fmla="*/ 0 w 1077477"/>
              <a:gd name="connsiteY4" fmla="*/ 7182246 h 7182246"/>
              <a:gd name="connsiteX0" fmla="*/ 0 w 1082939"/>
              <a:gd name="connsiteY0" fmla="*/ 7210268 h 7210268"/>
              <a:gd name="connsiteX1" fmla="*/ 593810 w 1082939"/>
              <a:gd name="connsiteY1" fmla="*/ 0 h 7210268"/>
              <a:gd name="connsiteX2" fmla="*/ 1082939 w 1082939"/>
              <a:gd name="connsiteY2" fmla="*/ 2405414 h 7210268"/>
              <a:gd name="connsiteX3" fmla="*/ 781025 w 1082939"/>
              <a:gd name="connsiteY3" fmla="*/ 6995800 h 7210268"/>
              <a:gd name="connsiteX4" fmla="*/ 0 w 1082939"/>
              <a:gd name="connsiteY4" fmla="*/ 7210268 h 721026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82939" h="7210268">
                <a:moveTo>
                  <a:pt x="0" y="7210268"/>
                </a:moveTo>
                <a:lnTo>
                  <a:pt x="593810" y="0"/>
                </a:lnTo>
                <a:lnTo>
                  <a:pt x="1082939" y="2405414"/>
                </a:lnTo>
                <a:lnTo>
                  <a:pt x="781025" y="6995800"/>
                </a:lnTo>
                <a:lnTo>
                  <a:pt x="0" y="7210268"/>
                </a:lnTo>
                <a:close/>
              </a:path>
            </a:pathLst>
          </a:custGeom>
          <a:solidFill>
            <a:srgbClr val="C00000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7" y="6073333"/>
            <a:ext cx="3463986" cy="14616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6" y="4970917"/>
            <a:ext cx="3469373" cy="89153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lvl="0"/>
            <a:r>
              <a:rPr lang="en-US" dirty="0"/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6256979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Regu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840920F4-E584-4046-AFF0-AAE539D7AFB1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823F2ADE-7BAE-FE48-B737-68A29D1255F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Picture 20" descr="A black sign with white text&#10;&#10;Description automatically generated">
            <a:extLst>
              <a:ext uri="{FF2B5EF4-FFF2-40B4-BE49-F238E27FC236}">
                <a16:creationId xmlns:a16="http://schemas.microsoft.com/office/drawing/2014/main" id="{761C9082-60BC-064E-AAC2-FA3CC4BCB7E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5" name="Slide Number Placeholder 6">
            <a:extLst>
              <a:ext uri="{FF2B5EF4-FFF2-40B4-BE49-F238E27FC236}">
                <a16:creationId xmlns:a16="http://schemas.microsoft.com/office/drawing/2014/main" id="{9D67A6A4-CC50-FB45-909B-1C321A7286C5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BBB49E-A8AC-7448-9581-7F73A7F9C64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Standard Page Heading - Plain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A84AA358-6F8F-1F44-A4DF-42AB851CE91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1074" y="1901952"/>
            <a:ext cx="10945444" cy="39501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945649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Ghos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>
            <a:extLst>
              <a:ext uri="{FF2B5EF4-FFF2-40B4-BE49-F238E27FC236}">
                <a16:creationId xmlns:a16="http://schemas.microsoft.com/office/drawing/2014/main" id="{82D1BD61-634F-4A47-B174-A2F0D04F666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0483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48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A84AA358-6F8F-1F44-A4DF-42AB851CE915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691074" y="1901952"/>
            <a:ext cx="10945444" cy="3950139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FD351E-588E-4A44-9A4C-F077BEC197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F2B03C-1F04-1548-8AE3-5ED0CD3AFB2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6" name="Picture 25" descr="A black sign with white text&#10;&#10;Description automatically generated">
            <a:extLst>
              <a:ext uri="{FF2B5EF4-FFF2-40B4-BE49-F238E27FC236}">
                <a16:creationId xmlns:a16="http://schemas.microsoft.com/office/drawing/2014/main" id="{8B3B3BF9-70E0-C04D-95B1-2A525903F075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0" name="Slide Number Placeholder 6">
            <a:extLst>
              <a:ext uri="{FF2B5EF4-FFF2-40B4-BE49-F238E27FC236}">
                <a16:creationId xmlns:a16="http://schemas.microsoft.com/office/drawing/2014/main" id="{1167E51F-DB4F-AC47-8099-7D8A2098F8F3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29936E1-0ECB-D242-81A6-7025B169F77D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Standard Page Heading - Ghosted Arrow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1419682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B51A4E53-853D-524D-85DA-2A286E40879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4B8A64A7-C697-5645-95FC-AAB0A0E5D3C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890"/>
          <a:stretch/>
        </p:blipFill>
        <p:spPr>
          <a:xfrm rot="10800000" flipH="1">
            <a:off x="0" y="-15676"/>
            <a:ext cx="3545305" cy="6858000"/>
          </a:xfrm>
          <a:prstGeom prst="rect">
            <a:avLst/>
          </a:prstGeom>
        </p:spPr>
      </p:pic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92" name="think-cell Slide" r:id="rId6" imgW="381" imgH="381" progId="TCLayout.ActiveDocument.1">
                  <p:embed/>
                </p:oleObj>
              </mc:Choice>
              <mc:Fallback>
                <p:oleObj name="think-cell Slide" r:id="rId6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AFD351E-588E-4A44-9A4C-F077BEC197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13F2B03C-1F04-1548-8AE3-5ED0CD3AFB2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ECD8734E-2BFC-E445-8F94-3A5BE2C22B7B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691074" y="1901952"/>
            <a:ext cx="10945444" cy="2011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5B08C399-0ECB-D74E-A4B9-4F31C3F7F1BD}"/>
              </a:ext>
            </a:extLst>
          </p:cNvPr>
          <p:cNvSpPr>
            <a:spLocks noGrp="1"/>
          </p:cNvSpPr>
          <p:nvPr>
            <p:ph sz="quarter" idx="23" hasCustomPrompt="1"/>
          </p:nvPr>
        </p:nvSpPr>
        <p:spPr>
          <a:xfrm>
            <a:off x="691074" y="4023360"/>
            <a:ext cx="10945444" cy="20116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defRPr lang="en-US" sz="2000" smtClean="0"/>
            </a:lvl1pPr>
            <a:lvl2pPr>
              <a:defRPr lang="en-US" sz="1800" smtClean="0"/>
            </a:lvl2pPr>
            <a:lvl3pPr>
              <a:defRPr lang="en-US" sz="1800" smtClean="0"/>
            </a:lvl3pPr>
            <a:lvl4pPr>
              <a:defRPr lang="en-US" sz="1600" smtClean="0"/>
            </a:lvl4pPr>
            <a:lvl5pPr>
              <a:defRPr lang="en-US" sz="1600"/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16" name="Picture 15" descr="A black sign with white text&#10;&#10;Description automatically generated">
            <a:extLst>
              <a:ext uri="{FF2B5EF4-FFF2-40B4-BE49-F238E27FC236}">
                <a16:creationId xmlns:a16="http://schemas.microsoft.com/office/drawing/2014/main" id="{DDE3D5FD-96D0-214C-96B9-EFF1764729D9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6" name="Slide Number Placeholder 6">
            <a:extLst>
              <a:ext uri="{FF2B5EF4-FFF2-40B4-BE49-F238E27FC236}">
                <a16:creationId xmlns:a16="http://schemas.microsoft.com/office/drawing/2014/main" id="{1F21C825-EAB4-9F48-9181-EC0EE205D970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0E8FA77-9DCC-AE45-B246-42FAC673B4F6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Double Horizontal - Ghosted Arrow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9689472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ouble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9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/>
          </p:nvPr>
        </p:nvSpPr>
        <p:spPr>
          <a:xfrm>
            <a:off x="720980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Content Placeholder 8">
            <a:extLst>
              <a:ext uri="{FF2B5EF4-FFF2-40B4-BE49-F238E27FC236}">
                <a16:creationId xmlns:a16="http://schemas.microsoft.com/office/drawing/2014/main" id="{31F4DD03-79D4-834A-B13E-882AC0269CF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6343161" y="1901952"/>
            <a:ext cx="5230367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A8B78A90-16B3-544C-A7AC-D58F4EBAE6D5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A41D2184-173D-A542-AD05-41D96DE269F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42E0F146-3C04-264E-AD2C-ACC5A17664C4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16007CB1-868D-254F-988F-BC008F952FE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9053AA0-C7EE-5D46-8553-1DF8CD274ADE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Double Vertical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892415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2952" y="0"/>
            <a:ext cx="6099048" cy="6858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819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031D513C-0038-A840-BA0F-5E5095A01FB5}"/>
              </a:ext>
            </a:extLst>
          </p:cNvPr>
          <p:cNvSpPr/>
          <p:nvPr userDrawn="1"/>
        </p:nvSpPr>
        <p:spPr>
          <a:xfrm>
            <a:off x="5620938" y="2973615"/>
            <a:ext cx="950124" cy="91077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1491CD6-944A-4C4A-AA24-336273FB0457}"/>
              </a:ext>
            </a:extLst>
          </p:cNvPr>
          <p:cNvSpPr txBox="1"/>
          <p:nvPr userDrawn="1"/>
        </p:nvSpPr>
        <p:spPr>
          <a:xfrm>
            <a:off x="5710990" y="3202559"/>
            <a:ext cx="77002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 b="1" dirty="0">
                <a:solidFill>
                  <a:schemeClr val="bg1"/>
                </a:solidFill>
                <a:latin typeface="+mj-lt"/>
              </a:rPr>
              <a:t>VS.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37B6C317-D2CE-3A4D-B860-6B95243BC75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1FAD97C8-94B5-4143-9125-218476B8E543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Slide Number Placeholder 6">
            <a:extLst>
              <a:ext uri="{FF2B5EF4-FFF2-40B4-BE49-F238E27FC236}">
                <a16:creationId xmlns:a16="http://schemas.microsoft.com/office/drawing/2014/main" id="{0176EB27-E6A1-B349-A0E5-3A180521118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21" name="Picture 20" descr="A black sign with white text&#10;&#10;Description automatically generated">
            <a:extLst>
              <a:ext uri="{FF2B5EF4-FFF2-40B4-BE49-F238E27FC236}">
                <a16:creationId xmlns:a16="http://schemas.microsoft.com/office/drawing/2014/main" id="{2EE990C8-BE75-2E45-9C80-2E8B9CC4438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38834FB2-55E3-CD47-A772-F786AFFF0EDA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723324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</a:t>
            </a:r>
            <a:br>
              <a:rPr lang="en-US" dirty="0"/>
            </a:br>
            <a:r>
              <a:rPr lang="en-US" dirty="0"/>
              <a:t>Click on the icon below to get started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E1837556-8C8E-D54F-983C-C6E759EAF009}"/>
              </a:ext>
            </a:extLst>
          </p:cNvPr>
          <p:cNvSpPr>
            <a:spLocks noGrp="1"/>
          </p:cNvSpPr>
          <p:nvPr>
            <p:ph sz="quarter" idx="37" hasCustomPrompt="1"/>
          </p:nvPr>
        </p:nvSpPr>
        <p:spPr>
          <a:xfrm>
            <a:off x="6856603" y="1902691"/>
            <a:ext cx="4571747" cy="3884779"/>
          </a:xfrm>
          <a:prstGeom prst="rect">
            <a:avLst/>
          </a:prstGeom>
          <a:ln>
            <a:noFill/>
          </a:ln>
        </p:spPr>
        <p:txBody>
          <a:bodyPr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</a:t>
            </a:r>
            <a:br>
              <a:rPr lang="en-US" dirty="0"/>
            </a:br>
            <a:r>
              <a:rPr lang="en-US" dirty="0"/>
              <a:t>Click on the icon below to get star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7DF2B08-937D-5947-A8AA-579782E33DD4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Comparison 1</a:t>
            </a:r>
          </a:p>
        </p:txBody>
      </p:sp>
      <p:sp>
        <p:nvSpPr>
          <p:cNvPr id="1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6851962" y="0"/>
            <a:ext cx="4572000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Comparison 2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866202" y="1150685"/>
            <a:ext cx="4572000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2558723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Spli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6092952" y="-1"/>
            <a:ext cx="6099048" cy="6858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88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13">
            <a:extLst>
              <a:ext uri="{FF2B5EF4-FFF2-40B4-BE49-F238E27FC236}">
                <a16:creationId xmlns:a16="http://schemas.microsoft.com/office/drawing/2014/main" id="{E3BDCF0C-CA81-9548-9342-529298AEE8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2456" y="1901951"/>
            <a:ext cx="4916344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D807933-3389-7C41-9AD0-3A5AF2F626E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BBB56C97-5C22-F243-9EE1-CC08E7302D7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D61EEE53-9B94-CE4A-B003-7CE7E2CE8339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69575ED7-0A41-B64B-9262-92AF4B420C54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2825" y="-1"/>
            <a:ext cx="6099175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</a:t>
            </a:r>
            <a:br>
              <a:rPr lang="en-US" dirty="0"/>
            </a:br>
            <a:r>
              <a:rPr lang="en-US" dirty="0"/>
              <a:t>Click on the icon below to get started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8A0FAF-B1DD-1741-982E-D59C25899E41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919472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Gray Back Split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919472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5523816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Spli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6092825" y="-1"/>
            <a:ext cx="6099175" cy="6858000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12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</a:t>
            </a:r>
            <a:br>
              <a:rPr lang="en-US" dirty="0"/>
            </a:br>
            <a:r>
              <a:rPr lang="en-US" dirty="0"/>
              <a:t>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36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>
            <a:extLst>
              <a:ext uri="{FF2B5EF4-FFF2-40B4-BE49-F238E27FC236}">
                <a16:creationId xmlns:a16="http://schemas.microsoft.com/office/drawing/2014/main" id="{5078FE57-77EE-254F-8309-3A9B5686B90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B35EF0-46CD-8045-9DA6-147FD038ECE3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5" name="Picture 24" descr="A black sign with white text&#10;&#10;Description automatically generated">
            <a:extLst>
              <a:ext uri="{FF2B5EF4-FFF2-40B4-BE49-F238E27FC236}">
                <a16:creationId xmlns:a16="http://schemas.microsoft.com/office/drawing/2014/main" id="{B868B56D-5297-974D-BEFB-D6F8D2C99FE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9" name="Slide Number Placeholder 6">
            <a:extLst>
              <a:ext uri="{FF2B5EF4-FFF2-40B4-BE49-F238E27FC236}">
                <a16:creationId xmlns:a16="http://schemas.microsoft.com/office/drawing/2014/main" id="{F0E59DAF-F025-C64D-B5CD-BCCE948D060B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F87D5A0-7C85-8D4F-A925-93411FFAD676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4919472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White Back Split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4919472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E3BDCF0C-CA81-9548-9342-529298AEE88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2456" y="1901951"/>
            <a:ext cx="4916344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4280700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1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552788" y="1901952"/>
            <a:ext cx="2713789" cy="1008678"/>
          </a:xfrm>
          <a:prstGeom prst="rect">
            <a:avLst/>
          </a:prstGeom>
          <a:solidFill>
            <a:srgbClr val="AB2228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3"/>
          </p:nvPr>
        </p:nvSpPr>
        <p:spPr>
          <a:xfrm>
            <a:off x="552788" y="3090672"/>
            <a:ext cx="5559256" cy="28895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sz="quarter" idx="14"/>
          </p:nvPr>
        </p:nvSpPr>
        <p:spPr>
          <a:xfrm>
            <a:off x="6231690" y="3090672"/>
            <a:ext cx="5559256" cy="28895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Content Placeholder 8">
            <a:extLst>
              <a:ext uri="{FF2B5EF4-FFF2-40B4-BE49-F238E27FC236}">
                <a16:creationId xmlns:a16="http://schemas.microsoft.com/office/drawing/2014/main" id="{3C7926EE-7162-394E-AC94-4F56C6479402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3398255" y="1901952"/>
            <a:ext cx="2713789" cy="1008678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016C6094-D5BD-AD4B-83F6-83F7A341C748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6231691" y="1901952"/>
            <a:ext cx="2713789" cy="1008678"/>
          </a:xfrm>
          <a:prstGeom prst="rect">
            <a:avLst/>
          </a:prstGeom>
          <a:solidFill>
            <a:srgbClr val="0D365D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3818F04B-BD29-2E44-9A61-FB64559B7A17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9077158" y="1901952"/>
            <a:ext cx="2713789" cy="1008678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0EC459B0-7D32-AE4C-B823-B0C33E03648A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19B2E69-38CA-8A47-9E22-10343E532865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0" name="Picture 29" descr="A black sign with white text&#10;&#10;Description automatically generated">
            <a:extLst>
              <a:ext uri="{FF2B5EF4-FFF2-40B4-BE49-F238E27FC236}">
                <a16:creationId xmlns:a16="http://schemas.microsoft.com/office/drawing/2014/main" id="{8CE43DDE-1299-304D-AA99-FEDCD89AF0F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4" name="Slide Number Placeholder 6">
            <a:extLst>
              <a:ext uri="{FF2B5EF4-FFF2-40B4-BE49-F238E27FC236}">
                <a16:creationId xmlns:a16="http://schemas.microsoft.com/office/drawing/2014/main" id="{504057A5-1AAB-A04B-B699-F6A5675B275D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68D1B2E-009C-9544-A820-CF14D15A0D61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Multi chart, multi image slide</a:t>
            </a:r>
          </a:p>
        </p:txBody>
      </p:sp>
      <p:sp>
        <p:nvSpPr>
          <p:cNvPr id="26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376863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57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6" name="Content Placeholder 8"/>
          <p:cNvSpPr>
            <a:spLocks noGrp="1"/>
          </p:cNvSpPr>
          <p:nvPr>
            <p:ph sz="quarter" idx="11" hasCustomPrompt="1"/>
          </p:nvPr>
        </p:nvSpPr>
        <p:spPr>
          <a:xfrm>
            <a:off x="4762982" y="1901952"/>
            <a:ext cx="2823021" cy="4079748"/>
          </a:xfrm>
          <a:prstGeom prst="rect">
            <a:avLst/>
          </a:prstGeom>
          <a:solidFill>
            <a:srgbClr val="AB2228"/>
          </a:solidFill>
          <a:ln>
            <a:noFill/>
          </a:ln>
        </p:spPr>
        <p:txBody>
          <a:bodyPr>
            <a:normAutofit/>
          </a:bodyPr>
          <a:lstStyle>
            <a:lvl1pPr>
              <a:defRPr sz="1800">
                <a:solidFill>
                  <a:schemeClr val="bg1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py Block, Infographic, Image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3" hasCustomPrompt="1"/>
          </p:nvPr>
        </p:nvSpPr>
        <p:spPr>
          <a:xfrm>
            <a:off x="552788" y="3995927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py Block, Infographic,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1F8F984E-C8A7-7042-85C7-63EA05CF568E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549201" y="1901951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py Block, Infographic,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8">
            <a:extLst>
              <a:ext uri="{FF2B5EF4-FFF2-40B4-BE49-F238E27FC236}">
                <a16:creationId xmlns:a16="http://schemas.microsoft.com/office/drawing/2014/main" id="{C711F772-1F11-9A41-9FFE-87AAB0FF7869}"/>
              </a:ext>
            </a:extLst>
          </p:cNvPr>
          <p:cNvSpPr>
            <a:spLocks noGrp="1"/>
          </p:cNvSpPr>
          <p:nvPr>
            <p:ph sz="quarter" idx="35" hasCustomPrompt="1"/>
          </p:nvPr>
        </p:nvSpPr>
        <p:spPr>
          <a:xfrm>
            <a:off x="7663162" y="3995927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py Block, Infographic,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ECD5CA76-ADA4-C842-984A-4BCD01298557}"/>
              </a:ext>
            </a:extLst>
          </p:cNvPr>
          <p:cNvSpPr>
            <a:spLocks noGrp="1"/>
          </p:cNvSpPr>
          <p:nvPr>
            <p:ph sz="quarter" idx="36" hasCustomPrompt="1"/>
          </p:nvPr>
        </p:nvSpPr>
        <p:spPr>
          <a:xfrm>
            <a:off x="7659575" y="1901951"/>
            <a:ext cx="4134959" cy="1975104"/>
          </a:xfrm>
          <a:prstGeom prst="rect">
            <a:avLst/>
          </a:prstGeom>
          <a:solidFill>
            <a:srgbClr val="D9DCD8"/>
          </a:solidFill>
          <a:ln>
            <a:noFill/>
          </a:ln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opy Block, Infographic, Image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9F8E388-E713-BC40-80A7-48B42EAAB9A3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12F646FA-F3F8-6E4D-A755-21F7238E5490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9" name="Picture 28" descr="A black sign with white text&#10;&#10;Description automatically generated">
            <a:extLst>
              <a:ext uri="{FF2B5EF4-FFF2-40B4-BE49-F238E27FC236}">
                <a16:creationId xmlns:a16="http://schemas.microsoft.com/office/drawing/2014/main" id="{12F38B39-1245-974D-94A8-D1EE4F7586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3" name="Slide Number Placeholder 6">
            <a:extLst>
              <a:ext uri="{FF2B5EF4-FFF2-40B4-BE49-F238E27FC236}">
                <a16:creationId xmlns:a16="http://schemas.microsoft.com/office/drawing/2014/main" id="{4C203645-752B-614C-8441-1812530BF58D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579E901-3A03-1E4C-BA8A-CD4E43BAF00A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Heading</a:t>
            </a:r>
          </a:p>
        </p:txBody>
      </p:sp>
      <p:sp>
        <p:nvSpPr>
          <p:cNvPr id="22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100620634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Chart_Gra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tangle 19">
            <a:extLst>
              <a:ext uri="{FF2B5EF4-FFF2-40B4-BE49-F238E27FC236}">
                <a16:creationId xmlns:a16="http://schemas.microsoft.com/office/drawing/2014/main" id="{D0846E2A-2D02-DD40-A0A9-14CF7831ED2C}"/>
              </a:ext>
            </a:extLst>
          </p:cNvPr>
          <p:cNvSpPr/>
          <p:nvPr userDrawn="1"/>
        </p:nvSpPr>
        <p:spPr>
          <a:xfrm>
            <a:off x="8661981" y="3481052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0509F69A-49F4-5542-8DE0-771CDD1B74B6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8661980" y="3481053"/>
            <a:ext cx="3529584" cy="3374136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5023163" y="-528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5023037" y="-798"/>
            <a:ext cx="3522830" cy="33769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9F1727-060D-CB4C-A558-1772E482BE65}"/>
              </a:ext>
            </a:extLst>
          </p:cNvPr>
          <p:cNvSpPr/>
          <p:nvPr userDrawn="1"/>
        </p:nvSpPr>
        <p:spPr>
          <a:xfrm>
            <a:off x="8661981" y="-528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E88E7306-A946-B946-9D31-211684649467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661981" y="-797"/>
            <a:ext cx="3530019" cy="337694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9FD18B-B204-714D-8235-35B41F9C9D2D}"/>
              </a:ext>
            </a:extLst>
          </p:cNvPr>
          <p:cNvSpPr/>
          <p:nvPr userDrawn="1"/>
        </p:nvSpPr>
        <p:spPr>
          <a:xfrm>
            <a:off x="5023163" y="3481051"/>
            <a:ext cx="3530019" cy="3429001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3D764691-7D6C-5744-852B-195BC99C988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023037" y="3481052"/>
            <a:ext cx="3522830" cy="3376948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887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1" name="Text Placeholder 13">
            <a:extLst>
              <a:ext uri="{FF2B5EF4-FFF2-40B4-BE49-F238E27FC236}">
                <a16:creationId xmlns:a16="http://schemas.microsoft.com/office/drawing/2014/main" id="{7BE887B3-0DBE-6D4B-94BB-BFE805438AF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6549" y="1901951"/>
            <a:ext cx="3695940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2CD5334B-FD8A-3248-B71F-B5D95AE44F65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EEC44D5-A01F-D34A-9880-80335A5000F4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Slide Number Placeholder 6">
            <a:extLst>
              <a:ext uri="{FF2B5EF4-FFF2-40B4-BE49-F238E27FC236}">
                <a16:creationId xmlns:a16="http://schemas.microsoft.com/office/drawing/2014/main" id="{3CD6296D-30F2-9149-8665-7D382E941DE7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3005819-F991-3342-8650-5339DEBA1D10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7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369417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Multi Chart Gray</a:t>
            </a:r>
          </a:p>
        </p:txBody>
      </p:sp>
      <p:sp>
        <p:nvSpPr>
          <p:cNvPr id="2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3694176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9279976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m Title P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2228EDBF-5F05-284B-9F7B-B5F5B49FD8F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3562854 h 6858000"/>
              <a:gd name="connsiteX1" fmla="*/ 12192000 w 12192000"/>
              <a:gd name="connsiteY1" fmla="*/ 5651801 h 6858000"/>
              <a:gd name="connsiteX2" fmla="*/ 10985801 w 12192000"/>
              <a:gd name="connsiteY2" fmla="*/ 6858000 h 6858000"/>
              <a:gd name="connsiteX3" fmla="*/ 8896855 w 12192000"/>
              <a:gd name="connsiteY3" fmla="*/ 6858000 h 6858000"/>
              <a:gd name="connsiteX4" fmla="*/ 12192000 w 12192000"/>
              <a:gd name="connsiteY4" fmla="*/ 1343491 h 6858000"/>
              <a:gd name="connsiteX5" fmla="*/ 12192000 w 12192000"/>
              <a:gd name="connsiteY5" fmla="*/ 3432438 h 6858000"/>
              <a:gd name="connsiteX6" fmla="*/ 8766438 w 12192000"/>
              <a:gd name="connsiteY6" fmla="*/ 6858000 h 6858000"/>
              <a:gd name="connsiteX7" fmla="*/ 6677492 w 12192000"/>
              <a:gd name="connsiteY7" fmla="*/ 6858000 h 6858000"/>
              <a:gd name="connsiteX8" fmla="*/ 0 w 12192000"/>
              <a:gd name="connsiteY8" fmla="*/ 0 h 6858000"/>
              <a:gd name="connsiteX9" fmla="*/ 12192000 w 12192000"/>
              <a:gd name="connsiteY9" fmla="*/ 0 h 6858000"/>
              <a:gd name="connsiteX10" fmla="*/ 12192000 w 12192000"/>
              <a:gd name="connsiteY10" fmla="*/ 1213075 h 6858000"/>
              <a:gd name="connsiteX11" fmla="*/ 6547076 w 12192000"/>
              <a:gd name="connsiteY11" fmla="*/ 6858000 h 6858000"/>
              <a:gd name="connsiteX12" fmla="*/ 4458130 w 12192000"/>
              <a:gd name="connsiteY12" fmla="*/ 6858000 h 6858000"/>
              <a:gd name="connsiteX13" fmla="*/ 11316128 w 12192000"/>
              <a:gd name="connsiteY13" fmla="*/ 2 h 6858000"/>
              <a:gd name="connsiteX14" fmla="*/ 11176002 w 12192000"/>
              <a:gd name="connsiteY14" fmla="*/ 2 h 6858000"/>
              <a:gd name="connsiteX15" fmla="*/ 4318004 w 12192000"/>
              <a:gd name="connsiteY15" fmla="*/ 6858000 h 6858000"/>
              <a:gd name="connsiteX16" fmla="*/ 2266186 w 12192000"/>
              <a:gd name="connsiteY16" fmla="*/ 6858000 h 6858000"/>
              <a:gd name="connsiteX17" fmla="*/ 2247622 w 12192000"/>
              <a:gd name="connsiteY17" fmla="*/ 6839436 h 6858000"/>
              <a:gd name="connsiteX18" fmla="*/ 9087055 w 12192000"/>
              <a:gd name="connsiteY18" fmla="*/ 2 h 6858000"/>
              <a:gd name="connsiteX19" fmla="*/ 2 w 12192000"/>
              <a:gd name="connsiteY19" fmla="*/ 2 h 6858000"/>
              <a:gd name="connsiteX20" fmla="*/ 2 w 12192000"/>
              <a:gd name="connsiteY20" fmla="*/ 6858000 h 6858000"/>
              <a:gd name="connsiteX21" fmla="*/ 0 w 12192000"/>
              <a:gd name="connsiteY21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2192000" h="6858000">
                <a:moveTo>
                  <a:pt x="12192000" y="3562854"/>
                </a:moveTo>
                <a:lnTo>
                  <a:pt x="12192000" y="5651801"/>
                </a:lnTo>
                <a:lnTo>
                  <a:pt x="10985801" y="6858000"/>
                </a:lnTo>
                <a:lnTo>
                  <a:pt x="8896855" y="6858000"/>
                </a:lnTo>
                <a:close/>
                <a:moveTo>
                  <a:pt x="12192000" y="1343491"/>
                </a:moveTo>
                <a:lnTo>
                  <a:pt x="12192000" y="3432438"/>
                </a:lnTo>
                <a:lnTo>
                  <a:pt x="8766438" y="6858000"/>
                </a:lnTo>
                <a:lnTo>
                  <a:pt x="6677492" y="6858000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1213075"/>
                </a:lnTo>
                <a:lnTo>
                  <a:pt x="6547076" y="6858000"/>
                </a:lnTo>
                <a:lnTo>
                  <a:pt x="4458130" y="6858000"/>
                </a:lnTo>
                <a:lnTo>
                  <a:pt x="11316128" y="2"/>
                </a:lnTo>
                <a:lnTo>
                  <a:pt x="11176002" y="2"/>
                </a:lnTo>
                <a:lnTo>
                  <a:pt x="4318004" y="6858000"/>
                </a:lnTo>
                <a:lnTo>
                  <a:pt x="2266186" y="6858000"/>
                </a:lnTo>
                <a:lnTo>
                  <a:pt x="2247622" y="6839436"/>
                </a:lnTo>
                <a:lnTo>
                  <a:pt x="9087055" y="2"/>
                </a:lnTo>
                <a:lnTo>
                  <a:pt x="2" y="2"/>
                </a:lnTo>
                <a:lnTo>
                  <a:pt x="2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CUTS">
            <a:extLst>
              <a:ext uri="{FF2B5EF4-FFF2-40B4-BE49-F238E27FC236}">
                <a16:creationId xmlns:a16="http://schemas.microsoft.com/office/drawing/2014/main" id="{20D7C606-3C29-294A-AB41-C536CFED225E}"/>
              </a:ext>
            </a:extLst>
          </p:cNvPr>
          <p:cNvSpPr/>
          <p:nvPr userDrawn="1"/>
        </p:nvSpPr>
        <p:spPr>
          <a:xfrm>
            <a:off x="1" y="0"/>
            <a:ext cx="12191999" cy="6857999"/>
          </a:xfrm>
          <a:custGeom>
            <a:avLst/>
            <a:gdLst>
              <a:gd name="connsiteX0" fmla="*/ 12191999 w 12191999"/>
              <a:gd name="connsiteY0" fmla="*/ 5651798 h 6857999"/>
              <a:gd name="connsiteX1" fmla="*/ 12191999 w 12191999"/>
              <a:gd name="connsiteY1" fmla="*/ 6857999 h 6857999"/>
              <a:gd name="connsiteX2" fmla="*/ 10985798 w 12191999"/>
              <a:gd name="connsiteY2" fmla="*/ 6857999 h 6857999"/>
              <a:gd name="connsiteX3" fmla="*/ 12191999 w 12191999"/>
              <a:gd name="connsiteY3" fmla="*/ 3432435 h 6857999"/>
              <a:gd name="connsiteX4" fmla="*/ 12191999 w 12191999"/>
              <a:gd name="connsiteY4" fmla="*/ 3562851 h 6857999"/>
              <a:gd name="connsiteX5" fmla="*/ 8896852 w 12191999"/>
              <a:gd name="connsiteY5" fmla="*/ 6857999 h 6857999"/>
              <a:gd name="connsiteX6" fmla="*/ 8766435 w 12191999"/>
              <a:gd name="connsiteY6" fmla="*/ 6857999 h 6857999"/>
              <a:gd name="connsiteX7" fmla="*/ 12191999 w 12191999"/>
              <a:gd name="connsiteY7" fmla="*/ 1213072 h 6857999"/>
              <a:gd name="connsiteX8" fmla="*/ 12191999 w 12191999"/>
              <a:gd name="connsiteY8" fmla="*/ 1343488 h 6857999"/>
              <a:gd name="connsiteX9" fmla="*/ 6677489 w 12191999"/>
              <a:gd name="connsiteY9" fmla="*/ 6857999 h 6857999"/>
              <a:gd name="connsiteX10" fmla="*/ 6547073 w 12191999"/>
              <a:gd name="connsiteY10" fmla="*/ 6857999 h 6857999"/>
              <a:gd name="connsiteX11" fmla="*/ 11176000 w 12191999"/>
              <a:gd name="connsiteY11" fmla="*/ 0 h 6857999"/>
              <a:gd name="connsiteX12" fmla="*/ 11316126 w 12191999"/>
              <a:gd name="connsiteY12" fmla="*/ 0 h 6857999"/>
              <a:gd name="connsiteX13" fmla="*/ 4458127 w 12191999"/>
              <a:gd name="connsiteY13" fmla="*/ 6857999 h 6857999"/>
              <a:gd name="connsiteX14" fmla="*/ 4318001 w 12191999"/>
              <a:gd name="connsiteY14" fmla="*/ 6857999 h 6857999"/>
              <a:gd name="connsiteX15" fmla="*/ 0 w 12191999"/>
              <a:gd name="connsiteY15" fmla="*/ 0 h 6857999"/>
              <a:gd name="connsiteX16" fmla="*/ 9087053 w 12191999"/>
              <a:gd name="connsiteY16" fmla="*/ 0 h 6857999"/>
              <a:gd name="connsiteX17" fmla="*/ 2247620 w 12191999"/>
              <a:gd name="connsiteY17" fmla="*/ 6839434 h 6857999"/>
              <a:gd name="connsiteX18" fmla="*/ 2266185 w 12191999"/>
              <a:gd name="connsiteY18" fmla="*/ 6857999 h 6857999"/>
              <a:gd name="connsiteX19" fmla="*/ 0 w 12191999"/>
              <a:gd name="connsiteY19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12191999" h="6857999">
                <a:moveTo>
                  <a:pt x="12191999" y="5651798"/>
                </a:moveTo>
                <a:lnTo>
                  <a:pt x="12191999" y="6857999"/>
                </a:lnTo>
                <a:lnTo>
                  <a:pt x="10985798" y="6857999"/>
                </a:lnTo>
                <a:close/>
                <a:moveTo>
                  <a:pt x="12191999" y="3432435"/>
                </a:moveTo>
                <a:lnTo>
                  <a:pt x="12191999" y="3562851"/>
                </a:lnTo>
                <a:lnTo>
                  <a:pt x="8896852" y="6857999"/>
                </a:lnTo>
                <a:lnTo>
                  <a:pt x="8766435" y="6857999"/>
                </a:lnTo>
                <a:close/>
                <a:moveTo>
                  <a:pt x="12191999" y="1213072"/>
                </a:moveTo>
                <a:lnTo>
                  <a:pt x="12191999" y="1343488"/>
                </a:lnTo>
                <a:lnTo>
                  <a:pt x="6677489" y="6857999"/>
                </a:lnTo>
                <a:lnTo>
                  <a:pt x="6547073" y="6857999"/>
                </a:lnTo>
                <a:close/>
                <a:moveTo>
                  <a:pt x="11176000" y="0"/>
                </a:moveTo>
                <a:lnTo>
                  <a:pt x="11316126" y="0"/>
                </a:lnTo>
                <a:lnTo>
                  <a:pt x="4458127" y="6857999"/>
                </a:lnTo>
                <a:lnTo>
                  <a:pt x="4318001" y="6857999"/>
                </a:lnTo>
                <a:close/>
                <a:moveTo>
                  <a:pt x="0" y="0"/>
                </a:moveTo>
                <a:lnTo>
                  <a:pt x="9087053" y="0"/>
                </a:lnTo>
                <a:lnTo>
                  <a:pt x="2247620" y="6839434"/>
                </a:lnTo>
                <a:lnTo>
                  <a:pt x="2266185" y="6857999"/>
                </a:lnTo>
                <a:lnTo>
                  <a:pt x="0" y="6857999"/>
                </a:lnTo>
                <a:close/>
              </a:path>
            </a:pathLst>
          </a:cu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LOGO">
            <a:extLst>
              <a:ext uri="{FF2B5EF4-FFF2-40B4-BE49-F238E27FC236}">
                <a16:creationId xmlns:a16="http://schemas.microsoft.com/office/drawing/2014/main" id="{3947AE7F-84E7-4B67-9A38-296F34BCA52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3817" y="5913882"/>
            <a:ext cx="836790" cy="556787"/>
          </a:xfrm>
          <a:prstGeom prst="rect">
            <a:avLst/>
          </a:prstGeom>
        </p:spPr>
      </p:pic>
      <p:sp>
        <p:nvSpPr>
          <p:cNvPr id="15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694944" y="2055351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solidFill>
                  <a:schemeClr val="tx1"/>
                </a:solidFill>
                <a:latin typeface="Titillium" pitchFamily="2" charset="77"/>
              </a:defRPr>
            </a:lvl1pPr>
          </a:lstStyle>
          <a:p>
            <a:r>
              <a:rPr lang="en-US" dirty="0"/>
              <a:t>Click to edit Content and Copy</a:t>
            </a:r>
          </a:p>
        </p:txBody>
      </p:sp>
      <p:sp>
        <p:nvSpPr>
          <p:cNvPr id="16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694944" y="3122713"/>
            <a:ext cx="3625850" cy="1025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2600" b="1" i="0">
                <a:solidFill>
                  <a:schemeClr val="accent5"/>
                </a:solidFill>
                <a:latin typeface="Titillium" pitchFamily="2" charset="77"/>
              </a:defRPr>
            </a:lvl1pPr>
            <a:lvl2pPr marL="4572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2pPr>
            <a:lvl3pPr marL="9144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3pPr>
            <a:lvl4pPr marL="13716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4pPr>
            <a:lvl5pPr marL="18288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title of Section</a:t>
            </a:r>
          </a:p>
        </p:txBody>
      </p:sp>
      <p:sp>
        <p:nvSpPr>
          <p:cNvPr id="18" name="RED RIGHT BOTTOM CORNER">
            <a:extLst>
              <a:ext uri="{FF2B5EF4-FFF2-40B4-BE49-F238E27FC236}">
                <a16:creationId xmlns:a16="http://schemas.microsoft.com/office/drawing/2014/main" id="{4D193DE4-498F-1D4F-A1A0-3C9497271EE7}"/>
              </a:ext>
            </a:extLst>
          </p:cNvPr>
          <p:cNvSpPr/>
          <p:nvPr userDrawn="1"/>
        </p:nvSpPr>
        <p:spPr>
          <a:xfrm flipH="1">
            <a:off x="11163300" y="5843368"/>
            <a:ext cx="1028700" cy="1028699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46808921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ultiChart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5023163" y="-52852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Content Placeholder 6"/>
          <p:cNvSpPr>
            <a:spLocks noGrp="1"/>
          </p:cNvSpPr>
          <p:nvPr>
            <p:ph sz="quarter" idx="31" hasCustomPrompt="1"/>
          </p:nvPr>
        </p:nvSpPr>
        <p:spPr>
          <a:xfrm>
            <a:off x="5023037" y="-52851"/>
            <a:ext cx="3345459" cy="3272583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19F1727-060D-CB4C-A558-1772E482BE65}"/>
              </a:ext>
            </a:extLst>
          </p:cNvPr>
          <p:cNvSpPr/>
          <p:nvPr userDrawn="1"/>
        </p:nvSpPr>
        <p:spPr>
          <a:xfrm>
            <a:off x="8661981" y="-52851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E88E7306-A946-B946-9D31-211684649467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843885" y="-52851"/>
            <a:ext cx="3348115" cy="327258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B9FD18B-B204-714D-8235-35B41F9C9D2D}"/>
              </a:ext>
            </a:extLst>
          </p:cNvPr>
          <p:cNvSpPr/>
          <p:nvPr userDrawn="1"/>
        </p:nvSpPr>
        <p:spPr>
          <a:xfrm>
            <a:off x="5023163" y="3481051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Content Placeholder 6">
            <a:extLst>
              <a:ext uri="{FF2B5EF4-FFF2-40B4-BE49-F238E27FC236}">
                <a16:creationId xmlns:a16="http://schemas.microsoft.com/office/drawing/2014/main" id="{3D764691-7D6C-5744-852B-195BC99C988C}"/>
              </a:ext>
            </a:extLst>
          </p:cNvPr>
          <p:cNvSpPr>
            <a:spLocks noGrp="1"/>
          </p:cNvSpPr>
          <p:nvPr>
            <p:ph sz="quarter" idx="33" hasCustomPrompt="1"/>
          </p:nvPr>
        </p:nvSpPr>
        <p:spPr>
          <a:xfrm>
            <a:off x="5023037" y="3481051"/>
            <a:ext cx="3345459" cy="2912063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D0846E2A-2D02-DD40-A0A9-14CF7831ED2C}"/>
              </a:ext>
            </a:extLst>
          </p:cNvPr>
          <p:cNvSpPr/>
          <p:nvPr userDrawn="1"/>
        </p:nvSpPr>
        <p:spPr>
          <a:xfrm>
            <a:off x="8661981" y="3481052"/>
            <a:ext cx="3530019" cy="3429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0509F69A-49F4-5542-8DE0-771CDD1B74B6}"/>
              </a:ext>
            </a:extLst>
          </p:cNvPr>
          <p:cNvSpPr>
            <a:spLocks noGrp="1"/>
          </p:cNvSpPr>
          <p:nvPr>
            <p:ph sz="quarter" idx="34" hasCustomPrompt="1"/>
          </p:nvPr>
        </p:nvSpPr>
        <p:spPr>
          <a:xfrm>
            <a:off x="8843885" y="3481051"/>
            <a:ext cx="3232001" cy="2886322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aseline="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dirty="0"/>
              <a:t>Use this for product images or smart art. Click on the icon below to get started.</a:t>
            </a:r>
          </a:p>
        </p:txBody>
      </p:sp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910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ED7E0B08-28C9-CF43-9538-AF41D8828694}"/>
              </a:ext>
            </a:extLst>
          </p:cNvPr>
          <p:cNvCxnSpPr/>
          <p:nvPr userDrawn="1"/>
        </p:nvCxnSpPr>
        <p:spPr>
          <a:xfrm>
            <a:off x="5023037" y="3350398"/>
            <a:ext cx="7354493" cy="0"/>
          </a:xfrm>
          <a:prstGeom prst="line">
            <a:avLst/>
          </a:prstGeom>
          <a:ln w="25400">
            <a:solidFill>
              <a:srgbClr val="0D365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0CCB478B-17FF-A940-A65A-25405E6D2BDE}"/>
              </a:ext>
            </a:extLst>
          </p:cNvPr>
          <p:cNvCxnSpPr/>
          <p:nvPr userDrawn="1"/>
        </p:nvCxnSpPr>
        <p:spPr>
          <a:xfrm>
            <a:off x="8606190" y="-118755"/>
            <a:ext cx="0" cy="7028807"/>
          </a:xfrm>
          <a:prstGeom prst="line">
            <a:avLst/>
          </a:prstGeom>
          <a:ln w="254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87A0D5D-7A9E-BE49-9C45-8995DC211AEE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A72A07BA-674E-DE4D-AA6D-19BE69E5FA38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Slide Number Placeholder 6">
            <a:extLst>
              <a:ext uri="{FF2B5EF4-FFF2-40B4-BE49-F238E27FC236}">
                <a16:creationId xmlns:a16="http://schemas.microsoft.com/office/drawing/2014/main" id="{34DEC11C-C74F-DD49-82B1-2A1567384F47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E3F846EC-35C2-8943-BD7B-76219599A325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2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369417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Multi Chart White</a:t>
            </a:r>
          </a:p>
        </p:txBody>
      </p:sp>
      <p:sp>
        <p:nvSpPr>
          <p:cNvPr id="2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3694176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33" name="Text Placeholder 13">
            <a:extLst>
              <a:ext uri="{FF2B5EF4-FFF2-40B4-BE49-F238E27FC236}">
                <a16:creationId xmlns:a16="http://schemas.microsoft.com/office/drawing/2014/main" id="{7BE887B3-0DBE-6D4B-94BB-BFE805438AF5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726549" y="1901951"/>
            <a:ext cx="3695940" cy="38862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lnSpc>
                <a:spcPts val="2600"/>
              </a:lnSpc>
              <a:spcBef>
                <a:spcPts val="480"/>
              </a:spcBef>
              <a:defRPr sz="2000"/>
            </a:lvl1pPr>
            <a:lvl2pPr>
              <a:lnSpc>
                <a:spcPts val="2600"/>
              </a:lnSpc>
              <a:spcBef>
                <a:spcPts val="480"/>
              </a:spcBef>
              <a:defRPr sz="1800"/>
            </a:lvl2pPr>
            <a:lvl3pPr>
              <a:lnSpc>
                <a:spcPts val="2600"/>
              </a:lnSpc>
              <a:spcBef>
                <a:spcPts val="480"/>
              </a:spcBef>
              <a:defRPr sz="1600"/>
            </a:lvl3pPr>
            <a:lvl4pPr>
              <a:lnSpc>
                <a:spcPts val="2600"/>
              </a:lnSpc>
              <a:spcBef>
                <a:spcPts val="480"/>
              </a:spcBef>
              <a:defRPr sz="1400"/>
            </a:lvl4pPr>
            <a:lvl5pPr>
              <a:lnSpc>
                <a:spcPts val="2600"/>
              </a:lnSpc>
              <a:spcBef>
                <a:spcPts val="480"/>
              </a:spcBef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054956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961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D215420-1B64-B645-984B-723678470C9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D5D330-C486-A54B-A1E5-1AA2408C0BDB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DB150242-180A-9441-BF43-54936D2F23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947344CA-01B7-1C41-8500-42E0AB94ABB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6127510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w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3729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AD215420-1B64-B645-984B-723678470C9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D5D330-C486-A54B-A1E5-1AA2408C0BDB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Picture 17" descr="A black sign with white text&#10;&#10;Description automatically generated">
            <a:extLst>
              <a:ext uri="{FF2B5EF4-FFF2-40B4-BE49-F238E27FC236}">
                <a16:creationId xmlns:a16="http://schemas.microsoft.com/office/drawing/2014/main" id="{DB150242-180A-9441-BF43-54936D2F232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22" name="Slide Number Placeholder 6">
            <a:extLst>
              <a:ext uri="{FF2B5EF4-FFF2-40B4-BE49-F238E27FC236}">
                <a16:creationId xmlns:a16="http://schemas.microsoft.com/office/drawing/2014/main" id="{947344CA-01B7-1C41-8500-42E0AB94ABB6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Blank with Heading</a:t>
            </a:r>
          </a:p>
        </p:txBody>
      </p:sp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</p:spTree>
    <p:extLst>
      <p:ext uri="{BB962C8B-B14F-4D97-AF65-F5344CB8AC3E}">
        <p14:creationId xmlns:p14="http://schemas.microsoft.com/office/powerpoint/2010/main" val="30939329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Bottom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9691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43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3F286E66-7073-A04E-8C8E-72B53D3A9B0B}"/>
              </a:ext>
            </a:extLst>
          </p:cNvPr>
          <p:cNvSpPr txBox="1"/>
          <p:nvPr userDrawn="1"/>
        </p:nvSpPr>
        <p:spPr>
          <a:xfrm>
            <a:off x="1161253" y="6356325"/>
            <a:ext cx="473049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CONFIDENTIAL: Contents of this document are for internal Red Lion Controls use only</a:t>
            </a:r>
          </a:p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 </a:t>
            </a:r>
          </a:p>
          <a:p>
            <a:endParaRPr lang="en-US" sz="7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2BBA7AB0-543E-FF4B-83C4-EA77AD8B6F37}"/>
              </a:ext>
            </a:extLst>
          </p:cNvPr>
          <p:cNvSpPr/>
          <p:nvPr userDrawn="1"/>
        </p:nvSpPr>
        <p:spPr>
          <a:xfrm>
            <a:off x="0" y="5760721"/>
            <a:ext cx="12203113" cy="109727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5" name="White Logo">
            <a:extLst>
              <a:ext uri="{FF2B5EF4-FFF2-40B4-BE49-F238E27FC236}">
                <a16:creationId xmlns:a16="http://schemas.microsoft.com/office/drawing/2014/main" id="{5A4E378A-5C03-1246-ABB3-1B62938D7E7C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125199" y="6061148"/>
            <a:ext cx="836790" cy="556787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8F711247-F8A4-954D-ACF7-EFC3A02038F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780253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solidFill>
                  <a:schemeClr val="bg1"/>
                </a:solidFill>
                <a:latin typeface="Titillium" pitchFamily="2" charset="77"/>
              </a:defRPr>
            </a:lvl1pPr>
          </a:lstStyle>
          <a:p>
            <a:r>
              <a:rPr lang="en-US" dirty="0"/>
              <a:t>Click to edit Master text styles</a:t>
            </a:r>
          </a:p>
        </p:txBody>
      </p:sp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0C49EF96-2BB2-3A44-8684-78C3BE4F325A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6381009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5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74029DD-E750-8147-8CD6-330CCD028F99}"/>
              </a:ext>
            </a:extLst>
          </p:cNvPr>
          <p:cNvSpPr txBox="1"/>
          <p:nvPr userDrawn="1"/>
        </p:nvSpPr>
        <p:spPr>
          <a:xfrm>
            <a:off x="983113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23907310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934" name="think-cell Slide" r:id="rId4" imgW="381" imgH="381" progId="TCLayout.ActiveDocument.1">
                  <p:embed/>
                </p:oleObj>
              </mc:Choice>
              <mc:Fallback>
                <p:oleObj name="think-cell Slide" r:id="rId4" imgW="381" imgH="38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" name="Picture 15" descr="A black sign with white text&#10;&#10;Description automatically generated">
            <a:extLst>
              <a:ext uri="{FF2B5EF4-FFF2-40B4-BE49-F238E27FC236}">
                <a16:creationId xmlns:a16="http://schemas.microsoft.com/office/drawing/2014/main" id="{72279C0D-137E-F848-BEC0-CA224AEF3CFB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41A502B-B396-CF47-BD1A-3F06D0E6DB17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4" y="0"/>
            <a:ext cx="5997818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048EA2-9A2D-1846-B4D7-E4130420E3F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5997818" cy="6858000"/>
          </a:xfrm>
          <a:prstGeom prst="rect">
            <a:avLst/>
          </a:prstGeom>
        </p:spPr>
      </p:pic>
      <p:sp>
        <p:nvSpPr>
          <p:cNvPr id="10" name="Parallelogram 9">
            <a:extLst>
              <a:ext uri="{FF2B5EF4-FFF2-40B4-BE49-F238E27FC236}">
                <a16:creationId xmlns:a16="http://schemas.microsoft.com/office/drawing/2014/main" id="{163369C0-997D-F14C-80FC-9A107E392A96}"/>
              </a:ext>
            </a:extLst>
          </p:cNvPr>
          <p:cNvSpPr/>
          <p:nvPr userDrawn="1"/>
        </p:nvSpPr>
        <p:spPr>
          <a:xfrm flipH="1">
            <a:off x="-193042" y="-111512"/>
            <a:ext cx="6581422" cy="6980663"/>
          </a:xfrm>
          <a:prstGeom prst="parallelogram">
            <a:avLst/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12" name="Picture 11" descr="A black sign with white text&#10;&#10;Description automatically generated">
            <a:extLst>
              <a:ext uri="{FF2B5EF4-FFF2-40B4-BE49-F238E27FC236}">
                <a16:creationId xmlns:a16="http://schemas.microsoft.com/office/drawing/2014/main" id="{EA25D2E6-C6DB-FD4C-87AC-23243B47D60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10408" y="2240894"/>
            <a:ext cx="2927386" cy="2011090"/>
          </a:xfrm>
          <a:prstGeom prst="rect">
            <a:avLst/>
          </a:prstGeom>
        </p:spPr>
      </p:pic>
      <p:sp>
        <p:nvSpPr>
          <p:cNvPr id="19" name="Title 1">
            <a:extLst>
              <a:ext uri="{FF2B5EF4-FFF2-40B4-BE49-F238E27FC236}">
                <a16:creationId xmlns:a16="http://schemas.microsoft.com/office/drawing/2014/main" id="{8C7264E5-6245-8343-B7D1-78C4281DCDCF}"/>
              </a:ext>
            </a:extLst>
          </p:cNvPr>
          <p:cNvSpPr txBox="1">
            <a:spLocks/>
          </p:cNvSpPr>
          <p:nvPr userDrawn="1"/>
        </p:nvSpPr>
        <p:spPr>
          <a:xfrm>
            <a:off x="1288135" y="2678486"/>
            <a:ext cx="3822390" cy="455898"/>
          </a:xfrm>
          <a:prstGeom prst="rect">
            <a:avLst/>
          </a:prstGeom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solidFill>
                  <a:srgbClr val="E9E9E9"/>
                </a:solidFill>
                <a:latin typeface="Titillium" panose="00000500000000000000" pitchFamily="50" charset="0"/>
              </a:rPr>
              <a:t>FOR MORE INFORMATION</a:t>
            </a:r>
            <a:endParaRPr lang="en-US" sz="3600" dirty="0">
              <a:solidFill>
                <a:srgbClr val="E9E9E9"/>
              </a:solidFill>
              <a:latin typeface="Titillium" panose="00000500000000000000" pitchFamily="50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33ED2DC-A781-0543-9C21-E54300998FB9}"/>
              </a:ext>
            </a:extLst>
          </p:cNvPr>
          <p:cNvSpPr txBox="1"/>
          <p:nvPr userDrawn="1"/>
        </p:nvSpPr>
        <p:spPr>
          <a:xfrm>
            <a:off x="1561359" y="3926184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+1 (717) 767-6511</a:t>
            </a:r>
          </a:p>
          <a:p>
            <a:endParaRPr lang="en-US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38270DEE-2A79-D347-B229-00DC5E2BFA5D}"/>
              </a:ext>
            </a:extLst>
          </p:cNvPr>
          <p:cNvSpPr txBox="1"/>
          <p:nvPr userDrawn="1"/>
        </p:nvSpPr>
        <p:spPr>
          <a:xfrm>
            <a:off x="1757725" y="4303127"/>
            <a:ext cx="33528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E9E9E9"/>
                </a:solidFill>
                <a:latin typeface="Titillium Bd" panose="00000800000000000000" pitchFamily="50" charset="0"/>
                <a:sym typeface="Titillium Bd" panose="00000800000000000000" pitchFamily="50" charset="0"/>
              </a:rPr>
              <a:t>WWW.REDLION.NET</a:t>
            </a:r>
          </a:p>
          <a:p>
            <a:endParaRPr lang="en-US" dirty="0"/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30724" y="4484607"/>
            <a:ext cx="4183093" cy="176502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0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4231226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s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9802"/>
          <a:stretch/>
        </p:blipFill>
        <p:spPr>
          <a:xfrm>
            <a:off x="0" y="0"/>
            <a:ext cx="4810125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1820562" y="562800"/>
            <a:ext cx="7493288" cy="58290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40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  <p:sp>
        <p:nvSpPr>
          <p:cNvPr id="10" name="Text Placeholder 45">
            <a:extLst>
              <a:ext uri="{FF2B5EF4-FFF2-40B4-BE49-F238E27FC236}">
                <a16:creationId xmlns:a16="http://schemas.microsoft.com/office/drawing/2014/main" id="{CA69E560-DF0C-4B52-9E18-6FCD89BCED6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1820562" y="1708507"/>
            <a:ext cx="9259329" cy="4157627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2000"/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This is a sample text. Insert your desired text here. </a:t>
            </a:r>
          </a:p>
        </p:txBody>
      </p:sp>
    </p:spTree>
    <p:extLst>
      <p:ext uri="{BB962C8B-B14F-4D97-AF65-F5344CB8AC3E}">
        <p14:creationId xmlns:p14="http://schemas.microsoft.com/office/powerpoint/2010/main" val="429465677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17904515-EE91-4EFB-B7B1-727354BF991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7897"/>
          <a:stretch/>
        </p:blipFill>
        <p:spPr>
          <a:xfrm>
            <a:off x="0" y="0"/>
            <a:ext cx="4924425" cy="6858000"/>
          </a:xfrm>
          <a:prstGeom prst="rect">
            <a:avLst/>
          </a:prstGeom>
        </p:spPr>
      </p:pic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61CDD2E3-0979-4893-A70E-A9C7CE43195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53933" y="372928"/>
            <a:ext cx="6220691" cy="358406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800" b="1">
                <a:solidFill>
                  <a:schemeClr val="bg1">
                    <a:lumMod val="50000"/>
                  </a:schemeClr>
                </a:solidFill>
                <a:latin typeface="+mj-lt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7ECB4FDB-8E4E-45C4-A83D-418A0C279AF4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47700" y="859922"/>
            <a:ext cx="3762367" cy="36162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400" b="1">
                <a:solidFill>
                  <a:srgbClr val="A61D2C"/>
                </a:solidFill>
                <a:latin typeface="Titillium Bd" panose="00000800000000000000" pitchFamily="50" charset="0"/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9" name="Picture 8" descr="A black sign with white text&#10;&#10;Description automatically generated">
            <a:extLst>
              <a:ext uri="{FF2B5EF4-FFF2-40B4-BE49-F238E27FC236}">
                <a16:creationId xmlns:a16="http://schemas.microsoft.com/office/drawing/2014/main" id="{2F9C1F0C-98BB-4623-81F0-FBDF3C0B6C1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61148"/>
            <a:ext cx="859403" cy="590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18884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terim Title Pag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29430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79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4642CF63-24BF-524F-A533-BD88CEC05E8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>
            <a:off x="6194182" y="0"/>
            <a:ext cx="5997818" cy="6858000"/>
          </a:xfrm>
          <a:prstGeom prst="rect">
            <a:avLst/>
          </a:prstGeom>
        </p:spPr>
      </p:pic>
      <p:sp>
        <p:nvSpPr>
          <p:cNvPr id="3" name="Right Triangle 2">
            <a:extLst>
              <a:ext uri="{FF2B5EF4-FFF2-40B4-BE49-F238E27FC236}">
                <a16:creationId xmlns:a16="http://schemas.microsoft.com/office/drawing/2014/main" id="{BF71E216-5CAC-D44F-9867-E1E9699765AC}"/>
              </a:ext>
            </a:extLst>
          </p:cNvPr>
          <p:cNvSpPr/>
          <p:nvPr userDrawn="1"/>
        </p:nvSpPr>
        <p:spPr>
          <a:xfrm rot="754245">
            <a:off x="1728679" y="622482"/>
            <a:ext cx="8996410" cy="6206706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296311 w 10307782"/>
              <a:gd name="connsiteY2" fmla="*/ 900676 h 7107382"/>
              <a:gd name="connsiteX3" fmla="*/ 10307782 w 10307782"/>
              <a:gd name="connsiteY3" fmla="*/ 7107382 h 7107382"/>
              <a:gd name="connsiteX4" fmla="*/ 0 w 10307782"/>
              <a:gd name="connsiteY4" fmla="*/ 7107382 h 7107382"/>
              <a:gd name="connsiteX0" fmla="*/ 0 w 10307782"/>
              <a:gd name="connsiteY0" fmla="*/ 6206706 h 6206706"/>
              <a:gd name="connsiteX1" fmla="*/ 113 w 10307782"/>
              <a:gd name="connsiteY1" fmla="*/ 295594 h 6206706"/>
              <a:gd name="connsiteX2" fmla="*/ 1296311 w 10307782"/>
              <a:gd name="connsiteY2" fmla="*/ 0 h 6206706"/>
              <a:gd name="connsiteX3" fmla="*/ 10307782 w 10307782"/>
              <a:gd name="connsiteY3" fmla="*/ 6206706 h 6206706"/>
              <a:gd name="connsiteX4" fmla="*/ 0 w 10307782"/>
              <a:gd name="connsiteY4" fmla="*/ 6206706 h 6206706"/>
              <a:gd name="connsiteX0" fmla="*/ 0 w 8996410"/>
              <a:gd name="connsiteY0" fmla="*/ 6206706 h 6206706"/>
              <a:gd name="connsiteX1" fmla="*/ 113 w 8996410"/>
              <a:gd name="connsiteY1" fmla="*/ 295594 h 6206706"/>
              <a:gd name="connsiteX2" fmla="*/ 1296311 w 8996410"/>
              <a:gd name="connsiteY2" fmla="*/ 0 h 6206706"/>
              <a:gd name="connsiteX3" fmla="*/ 8996410 w 8996410"/>
              <a:gd name="connsiteY3" fmla="*/ 5302833 h 6206706"/>
              <a:gd name="connsiteX4" fmla="*/ 0 w 8996410"/>
              <a:gd name="connsiteY4" fmla="*/ 6206706 h 62067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96410" h="6206706">
                <a:moveTo>
                  <a:pt x="0" y="6206706"/>
                </a:moveTo>
                <a:cubicBezTo>
                  <a:pt x="38" y="4236335"/>
                  <a:pt x="75" y="2265965"/>
                  <a:pt x="113" y="295594"/>
                </a:cubicBezTo>
                <a:lnTo>
                  <a:pt x="1296311" y="0"/>
                </a:lnTo>
                <a:lnTo>
                  <a:pt x="8996410" y="5302833"/>
                </a:lnTo>
                <a:lnTo>
                  <a:pt x="0" y="6206706"/>
                </a:lnTo>
                <a:close/>
              </a:path>
            </a:pathLst>
          </a:custGeom>
          <a:solidFill>
            <a:schemeClr val="accent2">
              <a:alpha val="4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ight Triangle 3">
            <a:extLst>
              <a:ext uri="{FF2B5EF4-FFF2-40B4-BE49-F238E27FC236}">
                <a16:creationId xmlns:a16="http://schemas.microsoft.com/office/drawing/2014/main" id="{BD8F948B-B7C6-1D4B-ABB9-4C848955F36C}"/>
              </a:ext>
            </a:extLst>
          </p:cNvPr>
          <p:cNvSpPr/>
          <p:nvPr userDrawn="1"/>
        </p:nvSpPr>
        <p:spPr>
          <a:xfrm rot="330679">
            <a:off x="815013" y="371578"/>
            <a:ext cx="9461569" cy="6569226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809818 w 10307782"/>
              <a:gd name="connsiteY2" fmla="*/ 575435 h 7107382"/>
              <a:gd name="connsiteX3" fmla="*/ 10307782 w 10307782"/>
              <a:gd name="connsiteY3" fmla="*/ 7107382 h 7107382"/>
              <a:gd name="connsiteX4" fmla="*/ 0 w 10307782"/>
              <a:gd name="connsiteY4" fmla="*/ 7107382 h 7107382"/>
              <a:gd name="connsiteX0" fmla="*/ 2204 w 10309986"/>
              <a:gd name="connsiteY0" fmla="*/ 6531947 h 6531947"/>
              <a:gd name="connsiteX1" fmla="*/ 0 w 10309986"/>
              <a:gd name="connsiteY1" fmla="*/ 58327 h 6531947"/>
              <a:gd name="connsiteX2" fmla="*/ 812022 w 10309986"/>
              <a:gd name="connsiteY2" fmla="*/ 0 h 6531947"/>
              <a:gd name="connsiteX3" fmla="*/ 10309986 w 10309986"/>
              <a:gd name="connsiteY3" fmla="*/ 6531947 h 6531947"/>
              <a:gd name="connsiteX4" fmla="*/ 2204 w 10309986"/>
              <a:gd name="connsiteY4" fmla="*/ 6531947 h 6531947"/>
              <a:gd name="connsiteX0" fmla="*/ 86 w 10307868"/>
              <a:gd name="connsiteY0" fmla="*/ 6531947 h 6531947"/>
              <a:gd name="connsiteX1" fmla="*/ 2857 w 10307868"/>
              <a:gd name="connsiteY1" fmla="*/ 36650 h 6531947"/>
              <a:gd name="connsiteX2" fmla="*/ 809904 w 10307868"/>
              <a:gd name="connsiteY2" fmla="*/ 0 h 6531947"/>
              <a:gd name="connsiteX3" fmla="*/ 10307868 w 10307868"/>
              <a:gd name="connsiteY3" fmla="*/ 6531947 h 6531947"/>
              <a:gd name="connsiteX4" fmla="*/ 86 w 10307868"/>
              <a:gd name="connsiteY4" fmla="*/ 6531947 h 6531947"/>
              <a:gd name="connsiteX0" fmla="*/ 86 w 10307868"/>
              <a:gd name="connsiteY0" fmla="*/ 6569226 h 6569226"/>
              <a:gd name="connsiteX1" fmla="*/ 2857 w 10307868"/>
              <a:gd name="connsiteY1" fmla="*/ 73929 h 6569226"/>
              <a:gd name="connsiteX2" fmla="*/ 756842 w 10307868"/>
              <a:gd name="connsiteY2" fmla="*/ 0 h 6569226"/>
              <a:gd name="connsiteX3" fmla="*/ 10307868 w 10307868"/>
              <a:gd name="connsiteY3" fmla="*/ 6569226 h 6569226"/>
              <a:gd name="connsiteX4" fmla="*/ 86 w 10307868"/>
              <a:gd name="connsiteY4" fmla="*/ 6569226 h 6569226"/>
              <a:gd name="connsiteX0" fmla="*/ 86 w 9492952"/>
              <a:gd name="connsiteY0" fmla="*/ 6569226 h 6569226"/>
              <a:gd name="connsiteX1" fmla="*/ 2857 w 9492952"/>
              <a:gd name="connsiteY1" fmla="*/ 73929 h 6569226"/>
              <a:gd name="connsiteX2" fmla="*/ 756842 w 9492952"/>
              <a:gd name="connsiteY2" fmla="*/ 0 h 6569226"/>
              <a:gd name="connsiteX3" fmla="*/ 9492952 w 9492952"/>
              <a:gd name="connsiteY3" fmla="*/ 6033069 h 6569226"/>
              <a:gd name="connsiteX4" fmla="*/ 86 w 9492952"/>
              <a:gd name="connsiteY4" fmla="*/ 6569226 h 6569226"/>
              <a:gd name="connsiteX0" fmla="*/ 86 w 9461569"/>
              <a:gd name="connsiteY0" fmla="*/ 6569226 h 6569226"/>
              <a:gd name="connsiteX1" fmla="*/ 2857 w 9461569"/>
              <a:gd name="connsiteY1" fmla="*/ 73929 h 6569226"/>
              <a:gd name="connsiteX2" fmla="*/ 756842 w 9461569"/>
              <a:gd name="connsiteY2" fmla="*/ 0 h 6569226"/>
              <a:gd name="connsiteX3" fmla="*/ 9461569 w 9461569"/>
              <a:gd name="connsiteY3" fmla="*/ 6000765 h 6569226"/>
              <a:gd name="connsiteX4" fmla="*/ 86 w 9461569"/>
              <a:gd name="connsiteY4" fmla="*/ 6569226 h 65692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461569" h="6569226">
                <a:moveTo>
                  <a:pt x="86" y="6569226"/>
                </a:moveTo>
                <a:cubicBezTo>
                  <a:pt x="-649" y="4411353"/>
                  <a:pt x="3592" y="2231802"/>
                  <a:pt x="2857" y="73929"/>
                </a:cubicBezTo>
                <a:lnTo>
                  <a:pt x="756842" y="0"/>
                </a:lnTo>
                <a:lnTo>
                  <a:pt x="9461569" y="6000765"/>
                </a:lnTo>
                <a:lnTo>
                  <a:pt x="86" y="6569226"/>
                </a:lnTo>
                <a:close/>
              </a:path>
            </a:pathLst>
          </a:custGeom>
          <a:solidFill>
            <a:schemeClr val="accent3">
              <a:alpha val="76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ight Triangle 4">
            <a:extLst>
              <a:ext uri="{FF2B5EF4-FFF2-40B4-BE49-F238E27FC236}">
                <a16:creationId xmlns:a16="http://schemas.microsoft.com/office/drawing/2014/main" id="{1307EE00-F0D5-BC49-8A5B-BEBBF8AB1695}"/>
              </a:ext>
            </a:extLst>
          </p:cNvPr>
          <p:cNvSpPr/>
          <p:nvPr userDrawn="1"/>
        </p:nvSpPr>
        <p:spPr>
          <a:xfrm>
            <a:off x="-205655" y="18898"/>
            <a:ext cx="10323280" cy="6839102"/>
          </a:xfrm>
          <a:custGeom>
            <a:avLst/>
            <a:gdLst>
              <a:gd name="connsiteX0" fmla="*/ 0 w 10307782"/>
              <a:gd name="connsiteY0" fmla="*/ 7107382 h 7107382"/>
              <a:gd name="connsiteX1" fmla="*/ 0 w 10307782"/>
              <a:gd name="connsiteY1" fmla="*/ 0 h 7107382"/>
              <a:gd name="connsiteX2" fmla="*/ 10307782 w 10307782"/>
              <a:gd name="connsiteY2" fmla="*/ 7107382 h 7107382"/>
              <a:gd name="connsiteX3" fmla="*/ 0 w 10307782"/>
              <a:gd name="connsiteY3" fmla="*/ 7107382 h 7107382"/>
              <a:gd name="connsiteX0" fmla="*/ 0 w 10307782"/>
              <a:gd name="connsiteY0" fmla="*/ 6823603 h 6823603"/>
              <a:gd name="connsiteX1" fmla="*/ 94593 w 10307782"/>
              <a:gd name="connsiteY1" fmla="*/ 0 h 6823603"/>
              <a:gd name="connsiteX2" fmla="*/ 10307782 w 10307782"/>
              <a:gd name="connsiteY2" fmla="*/ 6823603 h 6823603"/>
              <a:gd name="connsiteX3" fmla="*/ 0 w 10307782"/>
              <a:gd name="connsiteY3" fmla="*/ 6823603 h 6823603"/>
              <a:gd name="connsiteX0" fmla="*/ 0 w 10323280"/>
              <a:gd name="connsiteY0" fmla="*/ 6823603 h 6823603"/>
              <a:gd name="connsiteX1" fmla="*/ 94593 w 10323280"/>
              <a:gd name="connsiteY1" fmla="*/ 0 h 6823603"/>
              <a:gd name="connsiteX2" fmla="*/ 10323280 w 10323280"/>
              <a:gd name="connsiteY2" fmla="*/ 6823603 h 6823603"/>
              <a:gd name="connsiteX3" fmla="*/ 0 w 10323280"/>
              <a:gd name="connsiteY3" fmla="*/ 6823603 h 6823603"/>
              <a:gd name="connsiteX0" fmla="*/ 0 w 10323280"/>
              <a:gd name="connsiteY0" fmla="*/ 6823603 h 6839102"/>
              <a:gd name="connsiteX1" fmla="*/ 94593 w 10323280"/>
              <a:gd name="connsiteY1" fmla="*/ 0 h 6839102"/>
              <a:gd name="connsiteX2" fmla="*/ 10323280 w 10323280"/>
              <a:gd name="connsiteY2" fmla="*/ 6839102 h 6839102"/>
              <a:gd name="connsiteX3" fmla="*/ 0 w 10323280"/>
              <a:gd name="connsiteY3" fmla="*/ 6823603 h 68391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323280" h="6839102">
                <a:moveTo>
                  <a:pt x="0" y="6823603"/>
                </a:moveTo>
                <a:lnTo>
                  <a:pt x="94593" y="0"/>
                </a:lnTo>
                <a:lnTo>
                  <a:pt x="10323280" y="6839102"/>
                </a:lnTo>
                <a:lnTo>
                  <a:pt x="0" y="6823603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24">
            <a:extLst>
              <a:ext uri="{FF2B5EF4-FFF2-40B4-BE49-F238E27FC236}">
                <a16:creationId xmlns:a16="http://schemas.microsoft.com/office/drawing/2014/main" id="{92704F2B-4AAC-4F45-8068-3142FE49B497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16899" y="4374570"/>
            <a:ext cx="1975646" cy="1314564"/>
          </a:xfrm>
          <a:prstGeom prst="rect">
            <a:avLst/>
          </a:prstGeom>
        </p:spPr>
      </p:pic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6830568" y="1911096"/>
            <a:ext cx="4636008" cy="978408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r">
              <a:defRPr b="0" i="0">
                <a:latin typeface="Titillium" pitchFamily="2" charset="77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 hasCustomPrompt="1"/>
          </p:nvPr>
        </p:nvSpPr>
        <p:spPr>
          <a:xfrm>
            <a:off x="7839075" y="2978458"/>
            <a:ext cx="3625850" cy="10255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  <a:lvl2pPr marL="4572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2pPr>
            <a:lvl3pPr marL="9144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3pPr>
            <a:lvl4pPr marL="13716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4pPr>
            <a:lvl5pPr marL="1828800" indent="0" algn="r">
              <a:buNone/>
              <a:defRPr sz="2600">
                <a:solidFill>
                  <a:schemeClr val="accent3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Subtitle of Presentation</a:t>
            </a: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817" y="6075736"/>
            <a:ext cx="3463986" cy="14135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813817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>
              <a:defRPr sz="700" b="0" i="0">
                <a:solidFill>
                  <a:schemeClr val="bg1">
                    <a:lumMod val="50000"/>
                  </a:schemeClr>
                </a:solidFill>
                <a:effectLst/>
              </a:defRPr>
            </a:lvl1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6962251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CB7760F4-E27C-445B-BCE8-603D0D44A407}"/>
              </a:ext>
            </a:extLst>
          </p:cNvPr>
          <p:cNvSpPr/>
          <p:nvPr userDrawn="1"/>
        </p:nvSpPr>
        <p:spPr>
          <a:xfrm flipH="1">
            <a:off x="1031627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A6AF5648-CC22-46D3-864D-F1A2B5D6F62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675188" y="0"/>
            <a:ext cx="7516812" cy="6858000"/>
          </a:xfrm>
          <a:effectLst/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09605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70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 dirty="0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4355E69D-1413-3A4E-9ED4-6790BF115B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6543" y="3692987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3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C3AD7C86-8E21-8645-A102-E324AC9E531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70984" y="4257220"/>
            <a:ext cx="4247519" cy="39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31B492C-B64F-7346-959F-066977BBC936}"/>
              </a:ext>
            </a:extLst>
          </p:cNvPr>
          <p:cNvSpPr/>
          <p:nvPr userDrawn="1"/>
        </p:nvSpPr>
        <p:spPr>
          <a:xfrm>
            <a:off x="6583172" y="3802095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8" name="Text Placeholder 14">
            <a:extLst>
              <a:ext uri="{FF2B5EF4-FFF2-40B4-BE49-F238E27FC236}">
                <a16:creationId xmlns:a16="http://schemas.microsoft.com/office/drawing/2014/main" id="{E76C5C0B-9260-094A-8035-A20577779DF9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2266543" y="4730310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4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A51B293C-3734-BB41-9AD7-1E23646B0314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2270984" y="5294543"/>
            <a:ext cx="4247519" cy="35035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50" name="Oval 49">
            <a:extLst>
              <a:ext uri="{FF2B5EF4-FFF2-40B4-BE49-F238E27FC236}">
                <a16:creationId xmlns:a16="http://schemas.microsoft.com/office/drawing/2014/main" id="{ADABA603-C7B6-F642-90C8-44831A7CB202}"/>
              </a:ext>
            </a:extLst>
          </p:cNvPr>
          <p:cNvSpPr/>
          <p:nvPr userDrawn="1"/>
        </p:nvSpPr>
        <p:spPr>
          <a:xfrm>
            <a:off x="6583172" y="4839418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B4D1A69-385C-2C4C-B763-A3D00D2E63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1189" y="395190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9EC239C5-3331-8042-BA90-62F1C0AD1B0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641189" y="498557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4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191778516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9638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 dirty="0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4" name="Text Placeholder 14">
            <a:extLst>
              <a:ext uri="{FF2B5EF4-FFF2-40B4-BE49-F238E27FC236}">
                <a16:creationId xmlns:a16="http://schemas.microsoft.com/office/drawing/2014/main" id="{4355E69D-1413-3A4E-9ED4-6790BF115B3A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2266543" y="3692987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3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C3AD7C86-8E21-8645-A102-E324AC9E531E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2270984" y="4257220"/>
            <a:ext cx="4247519" cy="39490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46" name="Oval 45">
            <a:extLst>
              <a:ext uri="{FF2B5EF4-FFF2-40B4-BE49-F238E27FC236}">
                <a16:creationId xmlns:a16="http://schemas.microsoft.com/office/drawing/2014/main" id="{431B492C-B64F-7346-959F-066977BBC936}"/>
              </a:ext>
            </a:extLst>
          </p:cNvPr>
          <p:cNvSpPr/>
          <p:nvPr userDrawn="1"/>
        </p:nvSpPr>
        <p:spPr>
          <a:xfrm>
            <a:off x="6583172" y="3802095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6B4D1A69-385C-2C4C-B763-A3D00D2E637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641189" y="3951907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3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302612837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0662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 dirty="0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8" name="Text Placeholder 14">
            <a:extLst>
              <a:ext uri="{FF2B5EF4-FFF2-40B4-BE49-F238E27FC236}">
                <a16:creationId xmlns:a16="http://schemas.microsoft.com/office/drawing/2014/main" id="{0BD51C68-E411-0245-865D-860BF6DD6526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2266543" y="2695968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2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00CE5835-D23D-4F44-A2BA-D8A99F54FA21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2270984" y="3260200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</p:txBody>
      </p:sp>
      <p:sp>
        <p:nvSpPr>
          <p:cNvPr id="40" name="Oval 39">
            <a:extLst>
              <a:ext uri="{FF2B5EF4-FFF2-40B4-BE49-F238E27FC236}">
                <a16:creationId xmlns:a16="http://schemas.microsoft.com/office/drawing/2014/main" id="{0A45C505-1A5A-A045-8CA0-2777EC99A9EB}"/>
              </a:ext>
            </a:extLst>
          </p:cNvPr>
          <p:cNvSpPr/>
          <p:nvPr userDrawn="1"/>
        </p:nvSpPr>
        <p:spPr>
          <a:xfrm>
            <a:off x="6595364" y="2805076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327186FE-EA50-374D-87FB-239C939DD1B7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641189" y="2957994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2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359724193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_1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686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282101" y="0"/>
            <a:ext cx="666344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2" name="Title Placeholder 1">
            <a:extLst>
              <a:ext uri="{FF2B5EF4-FFF2-40B4-BE49-F238E27FC236}">
                <a16:creationId xmlns:a16="http://schemas.microsoft.com/office/drawing/2014/main" id="{6F2868B1-4218-D044-840E-A9221A4C38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3052" y="549928"/>
            <a:ext cx="6059604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b="0" i="0">
                <a:latin typeface="Titillium" pitchFamily="2" charset="77"/>
              </a:defRPr>
            </a:lvl1pPr>
          </a:lstStyle>
          <a:p>
            <a:r>
              <a:rPr lang="en-US" dirty="0"/>
              <a:t>Click to edit Agenda slide</a:t>
            </a:r>
          </a:p>
        </p:txBody>
      </p:sp>
      <p:sp>
        <p:nvSpPr>
          <p:cNvPr id="53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FB5C07-A8B6-B242-88A1-3CA555C2EA2C}"/>
              </a:ext>
            </a:extLst>
          </p:cNvPr>
          <p:cNvSpPr/>
          <p:nvPr userDrawn="1"/>
        </p:nvSpPr>
        <p:spPr>
          <a:xfrm>
            <a:off x="6910832" y="0"/>
            <a:ext cx="45719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3" name="Text Placeholder 14">
            <a:extLst>
              <a:ext uri="{FF2B5EF4-FFF2-40B4-BE49-F238E27FC236}">
                <a16:creationId xmlns:a16="http://schemas.microsoft.com/office/drawing/2014/main" id="{717003C0-9D7D-A44B-9525-C12DD23B5CD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266543" y="1658645"/>
            <a:ext cx="4251960" cy="560387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 algn="r">
              <a:lnSpc>
                <a:spcPct val="100000"/>
              </a:lnSpc>
              <a:buNone/>
              <a:defRPr sz="2400" b="1" baseline="0">
                <a:solidFill>
                  <a:schemeClr val="accent2"/>
                </a:solidFill>
                <a:latin typeface="+mj-lt"/>
              </a:defRPr>
            </a:lvl1pPr>
            <a:lvl2pPr marL="457200" indent="0">
              <a:buNone/>
              <a:defRPr b="1">
                <a:solidFill>
                  <a:schemeClr val="accent2"/>
                </a:solidFill>
                <a:latin typeface="+mj-lt"/>
              </a:defRPr>
            </a:lvl2pPr>
            <a:lvl3pPr marL="914400" indent="0">
              <a:buNone/>
              <a:defRPr b="1">
                <a:solidFill>
                  <a:schemeClr val="accent2"/>
                </a:solidFill>
                <a:latin typeface="+mj-lt"/>
              </a:defRPr>
            </a:lvl3pPr>
            <a:lvl4pPr marL="1371600" indent="0">
              <a:buNone/>
              <a:defRPr b="1">
                <a:solidFill>
                  <a:schemeClr val="accent2"/>
                </a:solidFill>
                <a:latin typeface="+mj-lt"/>
              </a:defRPr>
            </a:lvl4pPr>
            <a:lvl5pPr marL="1828800" indent="0">
              <a:buNone/>
              <a:defRPr b="1">
                <a:solidFill>
                  <a:schemeClr val="accent2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Topic 1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2270984" y="2222877"/>
            <a:ext cx="4247519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 baseline="0"/>
            </a:lvl1pPr>
          </a:lstStyle>
          <a:p>
            <a:pPr lvl="0"/>
            <a:r>
              <a:rPr lang="en-US" dirty="0"/>
              <a:t>Additional copy if needed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D7EBEB16-C18F-DA48-BA34-D03C38136E39}"/>
              </a:ext>
            </a:extLst>
          </p:cNvPr>
          <p:cNvSpPr/>
          <p:nvPr userDrawn="1"/>
        </p:nvSpPr>
        <p:spPr>
          <a:xfrm>
            <a:off x="6595364" y="1767753"/>
            <a:ext cx="676654" cy="64008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C05DC7C6-A461-7746-99F6-978717E7C7F7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208FA89B-FBE0-1B47-81A1-8511BAC25436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63C663E-328B-7D4C-BCE1-3ABC10088A30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641189" y="1897821"/>
            <a:ext cx="586508" cy="350755"/>
          </a:xfrm>
          <a:prstGeom prst="rect">
            <a:avLst/>
          </a:prstGeom>
        </p:spPr>
        <p:txBody>
          <a:bodyPr numCol="1">
            <a:no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01</a:t>
            </a:r>
          </a:p>
        </p:txBody>
      </p:sp>
      <p:sp>
        <p:nvSpPr>
          <p:cNvPr id="51" name="Slide Number Placeholder 6">
            <a:extLst>
              <a:ext uri="{FF2B5EF4-FFF2-40B4-BE49-F238E27FC236}">
                <a16:creationId xmlns:a16="http://schemas.microsoft.com/office/drawing/2014/main" id="{E68911A7-4B95-C842-893F-650F0E3578CF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54" name="Picture 53" descr="A black sign with white text&#10;&#10;Description automatically generated">
            <a:extLst>
              <a:ext uri="{FF2B5EF4-FFF2-40B4-BE49-F238E27FC236}">
                <a16:creationId xmlns:a16="http://schemas.microsoft.com/office/drawing/2014/main" id="{6333A16E-2FEB-444D-80C3-AEB5896C7FD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2847" y="6111799"/>
            <a:ext cx="859403" cy="590403"/>
          </a:xfrm>
          <a:prstGeom prst="rect">
            <a:avLst/>
          </a:prstGeom>
        </p:spPr>
      </p:pic>
      <p:sp>
        <p:nvSpPr>
          <p:cNvPr id="55" name="TextBox 54">
            <a:extLst>
              <a:ext uri="{FF2B5EF4-FFF2-40B4-BE49-F238E27FC236}">
                <a16:creationId xmlns:a16="http://schemas.microsoft.com/office/drawing/2014/main" id="{E40594DF-BC9F-F54B-A9D3-37663CD9936C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</p:spTree>
    <p:extLst>
      <p:ext uri="{BB962C8B-B14F-4D97-AF65-F5344CB8AC3E}">
        <p14:creationId xmlns:p14="http://schemas.microsoft.com/office/powerpoint/2010/main" val="21105515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33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19" name="think-cell Slide" r:id="rId5" imgW="381" imgH="381" progId="TCLayout.ActiveDocument.1">
                  <p:embed/>
                </p:oleObj>
              </mc:Choice>
              <mc:Fallback>
                <p:oleObj name="think-cell Slide" r:id="rId5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BBAC50-7A17-8044-8291-1B9889C80AAD}"/>
              </a:ext>
            </a:extLst>
          </p:cNvPr>
          <p:cNvSpPr/>
          <p:nvPr userDrawn="1"/>
        </p:nvSpPr>
        <p:spPr>
          <a:xfrm rot="5400000">
            <a:off x="-3258020" y="3308818"/>
            <a:ext cx="6858002" cy="240365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9F452DC7-5DC8-2F4B-96C9-3B547ED334EF}"/>
              </a:ext>
            </a:extLst>
          </p:cNvPr>
          <p:cNvSpPr/>
          <p:nvPr userDrawn="1"/>
        </p:nvSpPr>
        <p:spPr>
          <a:xfrm rot="5400000">
            <a:off x="-3324071" y="3324071"/>
            <a:ext cx="6858001" cy="20986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80AE58E5-3790-4C49-AE9F-BDAA19F7775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105541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E4909624-9AC3-5C40-BB2E-1EA549CF726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68537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0" name="Picture Placeholder 2">
            <a:extLst>
              <a:ext uri="{FF2B5EF4-FFF2-40B4-BE49-F238E27FC236}">
                <a16:creationId xmlns:a16="http://schemas.microsoft.com/office/drawing/2014/main" id="{D374FE38-4F06-4845-A7D0-597E8A84516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394844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 baseline="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1" name="Picture Placeholder 2">
            <a:extLst>
              <a:ext uri="{FF2B5EF4-FFF2-40B4-BE49-F238E27FC236}">
                <a16:creationId xmlns:a16="http://schemas.microsoft.com/office/drawing/2014/main" id="{4BCE609F-1AD4-2941-B749-4C35E058E90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86562" y="1901952"/>
            <a:ext cx="2662151" cy="1812261"/>
          </a:xfrm>
          <a:prstGeom prst="parallelogram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/>
          <a:lstStyle>
            <a:lvl1pPr>
              <a:lnSpc>
                <a:spcPct val="100000"/>
              </a:lnSpc>
              <a:defRPr sz="2000"/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42" name="Text Placeholder 45">
            <a:extLst>
              <a:ext uri="{FF2B5EF4-FFF2-40B4-BE49-F238E27FC236}">
                <a16:creationId xmlns:a16="http://schemas.microsoft.com/office/drawing/2014/main" id="{104BED92-3C29-324A-A33C-DB7AA5FED320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86562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5" name="Text Placeholder 45">
            <a:extLst>
              <a:ext uri="{FF2B5EF4-FFF2-40B4-BE49-F238E27FC236}">
                <a16:creationId xmlns:a16="http://schemas.microsoft.com/office/drawing/2014/main" id="{D3891A97-1332-B24B-96FA-AADE8273011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394844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7" name="Text Placeholder 45">
            <a:extLst>
              <a:ext uri="{FF2B5EF4-FFF2-40B4-BE49-F238E27FC236}">
                <a16:creationId xmlns:a16="http://schemas.microsoft.com/office/drawing/2014/main" id="{BC041B28-8559-064C-9EF6-9F86B45689F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6105541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49" name="Text Placeholder 45">
            <a:extLst>
              <a:ext uri="{FF2B5EF4-FFF2-40B4-BE49-F238E27FC236}">
                <a16:creationId xmlns:a16="http://schemas.microsoft.com/office/drawing/2014/main" id="{97B57322-5D1B-514E-9C66-CC45AF5DAE9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8868537" y="4480560"/>
            <a:ext cx="2350659" cy="49085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FontTx/>
              <a:buNone/>
              <a:defRPr sz="1400">
                <a:solidFill>
                  <a:schemeClr val="accent4">
                    <a:lumMod val="10000"/>
                  </a:schemeClr>
                </a:solidFill>
              </a:defRPr>
            </a:lvl1pPr>
            <a:lvl5pPr marL="1828800" indent="0">
              <a:buNone/>
              <a:defRPr/>
            </a:lvl5pPr>
          </a:lstStyle>
          <a:p>
            <a:r>
              <a:rPr lang="en-US" sz="1400" kern="0" dirty="0">
                <a:solidFill>
                  <a:schemeClr val="tx1">
                    <a:lumMod val="75000"/>
                    <a:lumOff val="25000"/>
                  </a:schemeClr>
                </a:solidFill>
                <a:ea typeface="Tahoma" panose="020B0604030504040204" pitchFamily="34" charset="0"/>
                <a:cs typeface="Tahoma" panose="020B0604030504040204" pitchFamily="34" charset="0"/>
              </a:rPr>
              <a:t>This is a sample text. Insert your desired text here. </a:t>
            </a:r>
          </a:p>
        </p:txBody>
      </p:sp>
      <p:sp>
        <p:nvSpPr>
          <p:cNvPr id="54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6562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33" name="Picture 32" descr="A black sign with white text&#10;&#10;Description automatically generated">
            <a:extLst>
              <a:ext uri="{FF2B5EF4-FFF2-40B4-BE49-F238E27FC236}">
                <a16:creationId xmlns:a16="http://schemas.microsoft.com/office/drawing/2014/main" id="{80B745E7-F03A-364A-A69B-F7637AF4C05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75343" y="6099234"/>
            <a:ext cx="859403" cy="590403"/>
          </a:xfrm>
          <a:prstGeom prst="rect">
            <a:avLst/>
          </a:prstGeom>
        </p:spPr>
      </p:pic>
      <p:sp>
        <p:nvSpPr>
          <p:cNvPr id="37" name="Slide Number Placeholder 6">
            <a:extLst>
              <a:ext uri="{FF2B5EF4-FFF2-40B4-BE49-F238E27FC236}">
                <a16:creationId xmlns:a16="http://schemas.microsoft.com/office/drawing/2014/main" id="{6ED3552E-ECB2-1241-A2FE-F599B0092262}"/>
              </a:ext>
            </a:extLst>
          </p:cNvPr>
          <p:cNvSpPr txBox="1">
            <a:spLocks/>
          </p:cNvSpPr>
          <p:nvPr userDrawn="1"/>
        </p:nvSpPr>
        <p:spPr>
          <a:xfrm>
            <a:off x="305590" y="6477199"/>
            <a:ext cx="5638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84993F75-2216-1046-AEF3-A956D275DDD9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60A9B0F-577D-A046-9BC5-8A20FC61FA13}"/>
              </a:ext>
            </a:extLst>
          </p:cNvPr>
          <p:cNvSpPr txBox="1"/>
          <p:nvPr userDrawn="1"/>
        </p:nvSpPr>
        <p:spPr>
          <a:xfrm>
            <a:off x="1007646" y="6477199"/>
            <a:ext cx="1420594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700" b="0" i="0" kern="1200" dirty="0">
                <a:solidFill>
                  <a:schemeClr val="tx1">
                    <a:lumMod val="65000"/>
                    <a:lumOff val="35000"/>
                  </a:schemeClr>
                </a:solidFill>
                <a:effectLst/>
                <a:latin typeface="+mn-lt"/>
                <a:ea typeface="+mn-ea"/>
                <a:cs typeface="+mn-cs"/>
              </a:rPr>
              <a:t>© Copyright Red Lion 2020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686562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3394844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6105541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BAFFF22B-0BD1-FA40-A485-F4A3D60B25A5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8868537" y="5029200"/>
            <a:ext cx="2350008" cy="1097280"/>
          </a:xfrm>
          <a:prstGeom prst="rect">
            <a:avLst/>
          </a:prstGeom>
        </p:spPr>
        <p:txBody>
          <a:bodyPr numCol="1">
            <a:noAutofit/>
          </a:bodyPr>
          <a:lstStyle>
            <a:lvl1pPr marL="171450" marR="0" indent="-171450" algn="l" defTabSz="914400" rtl="0" eaLnBrk="1" fontAlgn="auto" latinLnBrk="0" hangingPunct="1">
              <a:lnSpc>
                <a:spcPct val="15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1200">
                <a:latin typeface="+mn-lt"/>
              </a:defRPr>
            </a:lvl1pPr>
          </a:lstStyle>
          <a:p>
            <a:pPr lvl="0"/>
            <a:r>
              <a:rPr lang="en-US" dirty="0"/>
              <a:t>Agenda item 1</a:t>
            </a:r>
          </a:p>
          <a:p>
            <a:pPr lvl="0"/>
            <a:r>
              <a:rPr lang="en-US" dirty="0"/>
              <a:t>Agenda item 2</a:t>
            </a:r>
          </a:p>
          <a:p>
            <a:pPr lvl="0"/>
            <a:r>
              <a:rPr lang="en-US" dirty="0"/>
              <a:t>Agenda item 3</a:t>
            </a:r>
          </a:p>
        </p:txBody>
      </p:sp>
      <p:sp>
        <p:nvSpPr>
          <p:cNvPr id="35" name="Text Placeholder 9">
            <a:extLst>
              <a:ext uri="{FF2B5EF4-FFF2-40B4-BE49-F238E27FC236}">
                <a16:creationId xmlns:a16="http://schemas.microsoft.com/office/drawing/2014/main" id="{6AB51DC3-96C1-9844-93E6-7ED9CA11C8B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698812" y="-1"/>
            <a:ext cx="10937706" cy="1123951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buNone/>
              <a:defRPr sz="3600" b="0" i="0" baseline="0">
                <a:latin typeface="Titillium" pitchFamily="2" charset="77"/>
              </a:defRPr>
            </a:lvl1pPr>
            <a:lvl2pPr marL="457200" indent="0">
              <a:buNone/>
              <a:defRPr sz="4800">
                <a:latin typeface="+mj-lt"/>
              </a:defRPr>
            </a:lvl2pPr>
            <a:lvl3pPr marL="914400" indent="0">
              <a:buNone/>
              <a:defRPr sz="4800">
                <a:latin typeface="+mj-lt"/>
              </a:defRPr>
            </a:lvl3pPr>
            <a:lvl4pPr marL="1371600" indent="0">
              <a:buNone/>
              <a:defRPr sz="4800">
                <a:latin typeface="+mj-lt"/>
              </a:defRPr>
            </a:lvl4pPr>
            <a:lvl5pPr marL="1828800" indent="0">
              <a:buNone/>
              <a:defRPr sz="4800">
                <a:latin typeface="+mj-lt"/>
              </a:defRPr>
            </a:lvl5pPr>
          </a:lstStyle>
          <a:p>
            <a:pPr lvl="0"/>
            <a:r>
              <a:rPr lang="en-US" dirty="0"/>
              <a:t>Standard Page Heading/Plain</a:t>
            </a:r>
          </a:p>
        </p:txBody>
      </p:sp>
      <p:sp>
        <p:nvSpPr>
          <p:cNvPr id="38" name="Text Placeholder 11">
            <a:extLst>
              <a:ext uri="{FF2B5EF4-FFF2-40B4-BE49-F238E27FC236}">
                <a16:creationId xmlns:a16="http://schemas.microsoft.com/office/drawing/2014/main" id="{881DABF6-7847-B249-B05D-5AB4A42E4C75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713052" y="1150684"/>
            <a:ext cx="6059604" cy="48209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2600" b="1" i="0">
                <a:solidFill>
                  <a:schemeClr val="accent3"/>
                </a:solidFill>
                <a:latin typeface="Titillium" pitchFamily="2" charset="77"/>
              </a:defRPr>
            </a:lvl1pPr>
          </a:lstStyle>
          <a:p>
            <a:pPr lvl="0"/>
            <a:r>
              <a:rPr lang="en-US" dirty="0"/>
              <a:t>Subhead</a:t>
            </a:r>
          </a:p>
        </p:txBody>
      </p:sp>
      <p:sp>
        <p:nvSpPr>
          <p:cNvPr id="36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3394844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9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2"/>
          </p:nvPr>
        </p:nvSpPr>
        <p:spPr>
          <a:xfrm>
            <a:off x="6105541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3" name="Text Placeholder 9">
            <a:extLst>
              <a:ext uri="{FF2B5EF4-FFF2-40B4-BE49-F238E27FC236}">
                <a16:creationId xmlns:a16="http://schemas.microsoft.com/office/drawing/2014/main" id="{584400F5-4A35-9249-ADF1-DEA9BCDA69BB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8868537" y="3857799"/>
            <a:ext cx="2350659" cy="54864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>
              <a:lnSpc>
                <a:spcPct val="100000"/>
              </a:lnSpc>
              <a:buNone/>
              <a:defRPr sz="1800" b="1">
                <a:solidFill>
                  <a:srgbClr val="1B365D"/>
                </a:solidFill>
                <a:latin typeface="Titillium Bd" panose="00000800000000000000" pitchFamily="50" charset="0"/>
                <a:sym typeface="Titillium Bd" panose="00000800000000000000" pitchFamily="50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30037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slideLayout" Target="../slideLayouts/slideLayout7.xml"/><Relationship Id="rId7" Type="http://schemas.openxmlformats.org/officeDocument/2006/relationships/vmlDrawing" Target="../drawings/vmlDrawing4.v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heme" Target="../theme/theme2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9.xml"/><Relationship Id="rId10" Type="http://schemas.openxmlformats.org/officeDocument/2006/relationships/oleObject" Target="../embeddings/oleObject4.bin"/><Relationship Id="rId4" Type="http://schemas.openxmlformats.org/officeDocument/2006/relationships/slideLayout" Target="../slideLayouts/slideLayout8.xml"/><Relationship Id="rId9" Type="http://schemas.openxmlformats.org/officeDocument/2006/relationships/tags" Target="../tags/tag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13" Type="http://schemas.openxmlformats.org/officeDocument/2006/relationships/slideLayout" Target="../slideLayouts/slideLayout22.xml"/><Relationship Id="rId18" Type="http://schemas.openxmlformats.org/officeDocument/2006/relationships/theme" Target="../theme/theme3.xml"/><Relationship Id="rId3" Type="http://schemas.openxmlformats.org/officeDocument/2006/relationships/slideLayout" Target="../slideLayouts/slideLayout12.xml"/><Relationship Id="rId21" Type="http://schemas.openxmlformats.org/officeDocument/2006/relationships/tags" Target="../tags/tag21.xml"/><Relationship Id="rId7" Type="http://schemas.openxmlformats.org/officeDocument/2006/relationships/slideLayout" Target="../slideLayouts/slideLayout16.xml"/><Relationship Id="rId12" Type="http://schemas.openxmlformats.org/officeDocument/2006/relationships/slideLayout" Target="../slideLayouts/slideLayout21.xml"/><Relationship Id="rId1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11.xml"/><Relationship Id="rId16" Type="http://schemas.openxmlformats.org/officeDocument/2006/relationships/slideLayout" Target="../slideLayouts/slideLayout25.xml"/><Relationship Id="rId20" Type="http://schemas.openxmlformats.org/officeDocument/2006/relationships/tags" Target="../tags/tag20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slideLayout" Target="../slideLayouts/slideLayout20.xml"/><Relationship Id="rId5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24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9.xml"/><Relationship Id="rId19" Type="http://schemas.openxmlformats.org/officeDocument/2006/relationships/vmlDrawing" Target="../drawings/vmlDrawing10.v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Relationship Id="rId14" Type="http://schemas.openxmlformats.org/officeDocument/2006/relationships/slideLayout" Target="../slideLayouts/slideLayout23.xml"/><Relationship Id="rId22" Type="http://schemas.openxmlformats.org/officeDocument/2006/relationships/oleObject" Target="../embeddings/oleObject10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7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8" name="think-cell Slide" r:id="rId9" imgW="381" imgH="381" progId="TCLayout.ActiveDocument.1">
                  <p:embed/>
                </p:oleObj>
              </mc:Choice>
              <mc:Fallback>
                <p:oleObj name="think-cell Slide" r:id="rId9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8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84020" y="3046755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over Art &amp; Section Dividers</a:t>
            </a:r>
          </a:p>
        </p:txBody>
      </p:sp>
      <p:sp>
        <p:nvSpPr>
          <p:cNvPr id="3" name="MSIPCMContentMarking" descr="{&quot;HashCode&quot;:1722077384,&quot;Placement&quot;:&quot;Footer&quot;,&quot;Top&quot;:519.343,&quot;Left&quot;:411.339752,&quot;SlideWidth&quot;:960,&quot;SlideHeight&quot;:540}"/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31295970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98" r:id="rId2"/>
    <p:sldLayoutId id="2147483674" r:id="rId3"/>
    <p:sldLayoutId id="2147483753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8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419" name="think-cell Slide" r:id="rId10" imgW="381" imgH="381" progId="TCLayout.ActiveDocument.1">
                  <p:embed/>
                </p:oleObj>
              </mc:Choice>
              <mc:Fallback>
                <p:oleObj name="think-cell Slide" r:id="rId10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9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554347" y="2852928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Agenda Slide Options</a:t>
            </a:r>
          </a:p>
        </p:txBody>
      </p:sp>
      <p:sp>
        <p:nvSpPr>
          <p:cNvPr id="3" name="MSIPCMContentMarking" descr="{&quot;HashCode&quot;:1722077384,&quot;Placement&quot;:&quot;Footer&quot;,&quot;Top&quot;:519.343,&quot;Left&quot;:411.339752,&quot;SlideWidth&quot;:960,&quot;SlideHeight&quot;:540}"/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38246627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0" r:id="rId1"/>
    <p:sldLayoutId id="2147483747" r:id="rId2"/>
    <p:sldLayoutId id="2147483748" r:id="rId3"/>
    <p:sldLayoutId id="2147483749" r:id="rId4"/>
    <p:sldLayoutId id="2147483722" r:id="rId5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ts val="3660"/>
        </a:lnSpc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 userDrawn="1">
            <p:custDataLst>
              <p:tags r:id="rId20"/>
            </p:custDataLst>
          </p:nvPr>
        </p:nvGraphicFramePr>
        <p:xfrm>
          <a:off x="2119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19" name="think-cell Slide" r:id="rId22" imgW="381" imgH="381" progId="TCLayout.ActiveDocument.1">
                  <p:embed/>
                </p:oleObj>
              </mc:Choice>
              <mc:Fallback>
                <p:oleObj name="think-cell Slide" r:id="rId22" imgW="381" imgH="381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1"/>
            </p:custDataLst>
          </p:nvPr>
        </p:nvSpPr>
        <p:spPr>
          <a:xfrm>
            <a:off x="1" y="0"/>
            <a:ext cx="211667" cy="211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/>
            <a:endParaRPr lang="en-US" sz="3600" b="0" i="0" baseline="0" dirty="0">
              <a:latin typeface="Titillium" panose="00000500000000000000" pitchFamily="50" charset="0"/>
              <a:ea typeface="+mj-ea"/>
              <a:cs typeface="+mj-cs"/>
              <a:sym typeface="Titillium" panose="00000500000000000000" pitchFamily="50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684020" y="3140964"/>
            <a:ext cx="8823960" cy="57607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 dirty="0"/>
              <a:t>Content Pages</a:t>
            </a:r>
          </a:p>
        </p:txBody>
      </p:sp>
      <p:sp>
        <p:nvSpPr>
          <p:cNvPr id="3" name="MSIPCMContentMarking" descr="{&quot;HashCode&quot;:1722077384,&quot;Placement&quot;:&quot;Footer&quot;,&quot;Top&quot;:519.343,&quot;Left&quot;:411.339752,&quot;SlideWidth&quot;:960,&quot;SlideHeight&quot;:540}"/>
          <p:cNvSpPr txBox="1"/>
          <p:nvPr userDrawn="1"/>
        </p:nvSpPr>
        <p:spPr>
          <a:xfrm>
            <a:off x="5224015" y="6595656"/>
            <a:ext cx="1743970" cy="2623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000">
                <a:solidFill>
                  <a:srgbClr val="0000FF"/>
                </a:solidFill>
                <a:latin typeface="Calibri" panose="020F0502020204030204" pitchFamily="34" charset="0"/>
              </a:rPr>
              <a:t>UNRESTRICTED DOCUMENT</a:t>
            </a:r>
          </a:p>
        </p:txBody>
      </p:sp>
    </p:spTree>
    <p:extLst>
      <p:ext uri="{BB962C8B-B14F-4D97-AF65-F5344CB8AC3E}">
        <p14:creationId xmlns:p14="http://schemas.microsoft.com/office/powerpoint/2010/main" val="1996073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725" r:id="rId3"/>
    <p:sldLayoutId id="2147483694" r:id="rId4"/>
    <p:sldLayoutId id="2147483707" r:id="rId5"/>
    <p:sldLayoutId id="2147483689" r:id="rId6"/>
    <p:sldLayoutId id="2147483696" r:id="rId7"/>
    <p:sldLayoutId id="2147483693" r:id="rId8"/>
    <p:sldLayoutId id="2147483711" r:id="rId9"/>
    <p:sldLayoutId id="2147483709" r:id="rId10"/>
    <p:sldLayoutId id="2147483710" r:id="rId11"/>
    <p:sldLayoutId id="2147483736" r:id="rId12"/>
    <p:sldLayoutId id="2147483751" r:id="rId13"/>
    <p:sldLayoutId id="2147483738" r:id="rId14"/>
    <p:sldLayoutId id="2147483735" r:id="rId15"/>
    <p:sldLayoutId id="2147483754" r:id="rId16"/>
    <p:sldLayoutId id="2147483755" r:id="rId17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6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accent2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accent2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accent2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accent2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accent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png"/><Relationship Id="rId5" Type="http://schemas.openxmlformats.org/officeDocument/2006/relationships/image" Target="../media/image17.jpeg"/><Relationship Id="rId10" Type="http://schemas.openxmlformats.org/officeDocument/2006/relationships/image" Target="../media/image22.png"/><Relationship Id="rId4" Type="http://schemas.openxmlformats.org/officeDocument/2006/relationships/image" Target="../media/image16.svg"/><Relationship Id="rId9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7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5.jpe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29.bin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7" Type="http://schemas.openxmlformats.org/officeDocument/2006/relationships/image" Target="../media/image28.png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27.png"/><Relationship Id="rId5" Type="http://schemas.openxmlformats.org/officeDocument/2006/relationships/image" Target="../media/image26.png"/><Relationship Id="rId4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svg"/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2.svg"/><Relationship Id="rId5" Type="http://schemas.openxmlformats.org/officeDocument/2006/relationships/image" Target="../media/image31.png"/><Relationship Id="rId4" Type="http://schemas.openxmlformats.org/officeDocument/2006/relationships/image" Target="../media/image30.sv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svg"/><Relationship Id="rId13" Type="http://schemas.openxmlformats.org/officeDocument/2006/relationships/image" Target="../media/image45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12" Type="http://schemas.openxmlformats.org/officeDocument/2006/relationships/image" Target="../media/image44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8.sv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svg"/><Relationship Id="rId4" Type="http://schemas.openxmlformats.org/officeDocument/2006/relationships/image" Target="../media/image36.svg"/><Relationship Id="rId9" Type="http://schemas.openxmlformats.org/officeDocument/2006/relationships/image" Target="../media/image41.png"/><Relationship Id="rId14" Type="http://schemas.openxmlformats.org/officeDocument/2006/relationships/image" Target="../media/image46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48.png"/><Relationship Id="rId2" Type="http://schemas.openxmlformats.org/officeDocument/2006/relationships/tags" Target="../tags/tag42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47.emf"/><Relationship Id="rId11" Type="http://schemas.openxmlformats.org/officeDocument/2006/relationships/image" Target="../media/image21.png"/><Relationship Id="rId5" Type="http://schemas.openxmlformats.org/officeDocument/2006/relationships/oleObject" Target="../embeddings/oleObject25.bin"/><Relationship Id="rId10" Type="http://schemas.openxmlformats.org/officeDocument/2006/relationships/image" Target="../media/image51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0.jpe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13" Type="http://schemas.openxmlformats.org/officeDocument/2006/relationships/image" Target="../media/image56.sv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48.png"/><Relationship Id="rId12" Type="http://schemas.openxmlformats.org/officeDocument/2006/relationships/image" Target="../media/image55.png"/><Relationship Id="rId2" Type="http://schemas.openxmlformats.org/officeDocument/2006/relationships/tags" Target="../tags/tag43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2.emf"/><Relationship Id="rId11" Type="http://schemas.openxmlformats.org/officeDocument/2006/relationships/image" Target="../media/image54.svg"/><Relationship Id="rId5" Type="http://schemas.openxmlformats.org/officeDocument/2006/relationships/oleObject" Target="../embeddings/oleObject26.bin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5.xml"/><Relationship Id="rId9" Type="http://schemas.openxmlformats.org/officeDocument/2006/relationships/image" Target="../media/image36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1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22.png"/><Relationship Id="rId5" Type="http://schemas.openxmlformats.org/officeDocument/2006/relationships/image" Target="../media/image52.emf"/><Relationship Id="rId4" Type="http://schemas.openxmlformats.org/officeDocument/2006/relationships/oleObject" Target="../embeddings/oleObject2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21.png"/><Relationship Id="rId2" Type="http://schemas.openxmlformats.org/officeDocument/2006/relationships/tags" Target="../tags/tag4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27.bin"/><Relationship Id="rId4" Type="http://schemas.openxmlformats.org/officeDocument/2006/relationships/notesSlide" Target="../notesSlides/notesSlide6.xml"/><Relationship Id="rId9" Type="http://schemas.openxmlformats.org/officeDocument/2006/relationships/image" Target="../media/image20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8.png"/><Relationship Id="rId13" Type="http://schemas.openxmlformats.org/officeDocument/2006/relationships/image" Target="../media/image63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7.png"/><Relationship Id="rId12" Type="http://schemas.openxmlformats.org/officeDocument/2006/relationships/image" Target="../media/image62.png"/><Relationship Id="rId2" Type="http://schemas.openxmlformats.org/officeDocument/2006/relationships/tags" Target="../tags/tag46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8.png"/><Relationship Id="rId11" Type="http://schemas.openxmlformats.org/officeDocument/2006/relationships/image" Target="../media/image61.png"/><Relationship Id="rId5" Type="http://schemas.openxmlformats.org/officeDocument/2006/relationships/image" Target="../media/image52.emf"/><Relationship Id="rId10" Type="http://schemas.openxmlformats.org/officeDocument/2006/relationships/image" Target="../media/image60.jpeg"/><Relationship Id="rId4" Type="http://schemas.openxmlformats.org/officeDocument/2006/relationships/oleObject" Target="../embeddings/oleObject28.bin"/><Relationship Id="rId9" Type="http://schemas.openxmlformats.org/officeDocument/2006/relationships/image" Target="../media/image59.png"/><Relationship Id="rId14" Type="http://schemas.openxmlformats.org/officeDocument/2006/relationships/image" Target="../media/image6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sosceles Triangle 2">
            <a:extLst>
              <a:ext uri="{FF2B5EF4-FFF2-40B4-BE49-F238E27FC236}">
                <a16:creationId xmlns:a16="http://schemas.microsoft.com/office/drawing/2014/main" id="{665D12E5-3963-4021-A5B3-1559422AD1CF}"/>
              </a:ext>
            </a:extLst>
          </p:cNvPr>
          <p:cNvSpPr/>
          <p:nvPr/>
        </p:nvSpPr>
        <p:spPr>
          <a:xfrm rot="5400000">
            <a:off x="2601802" y="2494981"/>
            <a:ext cx="6858000" cy="1868041"/>
          </a:xfrm>
          <a:prstGeom prst="triangle">
            <a:avLst/>
          </a:prstGeom>
          <a:solidFill>
            <a:schemeClr val="bg1"/>
          </a:solidFill>
          <a:ln>
            <a:noFill/>
          </a:ln>
          <a:effectLst>
            <a:outerShdw blurRad="342900" dist="38100" sx="112000" sy="112000" algn="l" rotWithShape="0">
              <a:prstClr val="black">
                <a:alpha val="3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E329BA67-58CD-4897-B081-30E3B602ABE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047150" y="30248"/>
            <a:ext cx="3153181" cy="6827753"/>
          </a:xfrm>
          <a:prstGeom prst="rect">
            <a:avLst/>
          </a:prstGeom>
        </p:spPr>
      </p:pic>
      <p:sp>
        <p:nvSpPr>
          <p:cNvPr id="5" name="Right Triangle 4">
            <a:extLst>
              <a:ext uri="{FF2B5EF4-FFF2-40B4-BE49-F238E27FC236}">
                <a16:creationId xmlns:a16="http://schemas.microsoft.com/office/drawing/2014/main" id="{76B20D20-3717-4F0B-8F23-E91BD58E55CF}"/>
              </a:ext>
            </a:extLst>
          </p:cNvPr>
          <p:cNvSpPr/>
          <p:nvPr/>
        </p:nvSpPr>
        <p:spPr>
          <a:xfrm flipH="1">
            <a:off x="10304845" y="2648757"/>
            <a:ext cx="1998437" cy="4239491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329EE2-597E-4846-9B85-480944C85E9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392" y="0"/>
            <a:ext cx="5096781" cy="6858000"/>
          </a:xfrm>
          <a:prstGeom prst="rect">
            <a:avLst/>
          </a:prstGeom>
        </p:spPr>
      </p:pic>
      <p:pic>
        <p:nvPicPr>
          <p:cNvPr id="7" name="Picture 6" descr="A black sign with white text&#10;&#10;Description automatically generated">
            <a:extLst>
              <a:ext uri="{FF2B5EF4-FFF2-40B4-BE49-F238E27FC236}">
                <a16:creationId xmlns:a16="http://schemas.microsoft.com/office/drawing/2014/main" id="{8005AA32-1124-4D7E-9BF8-9301B5F227C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93748" y="5890160"/>
            <a:ext cx="1115127" cy="766083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00E9EB80-3F33-4661-BE44-2032C2DEEEC0}"/>
              </a:ext>
            </a:extLst>
          </p:cNvPr>
          <p:cNvSpPr txBox="1"/>
          <p:nvPr/>
        </p:nvSpPr>
        <p:spPr>
          <a:xfrm>
            <a:off x="724819" y="6273201"/>
            <a:ext cx="46544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rgbClr val="A61D2C"/>
                </a:solidFill>
                <a:latin typeface="BankGothic Md BT" panose="020B0807020203060204" pitchFamily="34" charset="0"/>
              </a:rPr>
              <a:t>Excellence. </a:t>
            </a:r>
            <a:r>
              <a:rPr lang="en-US" dirty="0">
                <a:latin typeface="BankGothic Md BT" panose="020B0807020203060204" pitchFamily="34" charset="0"/>
              </a:rPr>
              <a:t>Redefined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9E00D10A-2A56-495A-A04E-7C4AF1E2072D}"/>
              </a:ext>
            </a:extLst>
          </p:cNvPr>
          <p:cNvSpPr txBox="1">
            <a:spLocks/>
          </p:cNvSpPr>
          <p:nvPr/>
        </p:nvSpPr>
        <p:spPr>
          <a:xfrm>
            <a:off x="1085911" y="2041661"/>
            <a:ext cx="4406150" cy="2774677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000" b="1" dirty="0">
                <a:solidFill>
                  <a:schemeClr val="bg1">
                    <a:lumMod val="50000"/>
                  </a:schemeClr>
                </a:solidFill>
                <a:latin typeface="Titillium Bd" panose="00000800000000000000" pitchFamily="50" charset="0"/>
              </a:rPr>
              <a:t>Red Lion</a:t>
            </a:r>
            <a:r>
              <a:rPr lang="en-US" sz="4000" b="1" dirty="0">
                <a:solidFill>
                  <a:srgbClr val="A61D2C"/>
                </a:solidFill>
                <a:latin typeface="Titillium Bd" panose="00000800000000000000" pitchFamily="50" charset="0"/>
              </a:rPr>
              <a:t> </a:t>
            </a:r>
          </a:p>
          <a:p>
            <a:endParaRPr lang="en-US" sz="2400" b="1" dirty="0">
              <a:solidFill>
                <a:srgbClr val="A61D2C"/>
              </a:solidFill>
              <a:latin typeface="Titillium Bd" panose="00000800000000000000" pitchFamily="50" charset="0"/>
            </a:endParaRPr>
          </a:p>
          <a:p>
            <a:r>
              <a:rPr lang="en-US" sz="4000" b="1" dirty="0">
                <a:solidFill>
                  <a:srgbClr val="A61D2C"/>
                </a:solidFill>
                <a:latin typeface="Titillium Bd" panose="00000800000000000000" pitchFamily="50" charset="0"/>
              </a:rPr>
              <a:t>Remote Access Platform</a:t>
            </a:r>
          </a:p>
          <a:p>
            <a:r>
              <a:rPr lang="en-US" sz="4000" b="1" dirty="0">
                <a:solidFill>
                  <a:srgbClr val="A61D2C"/>
                </a:solidFill>
                <a:latin typeface="Titillium Bd" panose="00000800000000000000" pitchFamily="50" charset="0"/>
              </a:rPr>
              <a:t> </a:t>
            </a:r>
          </a:p>
          <a:p>
            <a:endParaRPr lang="en-US" sz="4000" b="1" dirty="0">
              <a:solidFill>
                <a:srgbClr val="A61D2C"/>
              </a:solidFill>
              <a:latin typeface="Titillium Bd" panose="00000800000000000000" pitchFamily="50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2B8CA18-7CA6-459A-AE8B-2973EE26DE77}"/>
              </a:ext>
            </a:extLst>
          </p:cNvPr>
          <p:cNvSpPr txBox="1"/>
          <p:nvPr/>
        </p:nvSpPr>
        <p:spPr>
          <a:xfrm>
            <a:off x="12788900" y="30248"/>
            <a:ext cx="2413000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fter the first use,  if you need to add a new image make sure to right click on the uploaded picture and select “</a:t>
            </a:r>
            <a:r>
              <a:rPr lang="en-US" b="1" dirty="0"/>
              <a:t>Send To Back”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0354647-576D-4D7D-A0DD-F849B746B24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88900" y="2018257"/>
            <a:ext cx="2205039" cy="12610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7CD2A77B-741D-4424-A780-12A9D2F06875}"/>
              </a:ext>
            </a:extLst>
          </p:cNvPr>
          <p:cNvSpPr txBox="1"/>
          <p:nvPr/>
        </p:nvSpPr>
        <p:spPr>
          <a:xfrm>
            <a:off x="12788900" y="3320349"/>
            <a:ext cx="24130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*Correct use of image layers</a:t>
            </a:r>
            <a:endParaRPr lang="en-US" sz="1400" b="1" dirty="0"/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283201" y="3474237"/>
            <a:ext cx="1830712" cy="3031069"/>
          </a:xfrm>
          <a:prstGeom prst="rect">
            <a:avLst/>
          </a:prstGeom>
        </p:spPr>
      </p:pic>
      <p:pic>
        <p:nvPicPr>
          <p:cNvPr id="20" name="Picture 1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925576" y="1602631"/>
            <a:ext cx="1750421" cy="2795636"/>
          </a:xfrm>
          <a:prstGeom prst="rect">
            <a:avLst/>
          </a:prstGeom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506325" y="123371"/>
            <a:ext cx="1388450" cy="22069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659016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1090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All-in-one </a:t>
            </a:r>
            <a:r>
              <a:rPr lang="en-US" dirty="0" err="1"/>
              <a:t>IIoT</a:t>
            </a:r>
            <a:r>
              <a:rPr lang="en-US" dirty="0"/>
              <a:t> Solu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 err="1"/>
              <a:t>IIoT</a:t>
            </a:r>
            <a:r>
              <a:rPr lang="en-US" dirty="0"/>
              <a:t> Application Diagram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14450" y="1931532"/>
            <a:ext cx="9406890" cy="3962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5569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C049BF-4FCB-4A3B-B421-2579427B16EB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Unyielding Security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built right i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049CC14-C299-4C99-BB1C-A54CFA6B5E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005" y="1594678"/>
            <a:ext cx="10845943" cy="45081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64943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672A85C-0F3B-4428-A00B-D7BDFD9835C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D4B4FB-6102-4AA8-931C-50C090290B72}"/>
              </a:ext>
            </a:extLst>
          </p:cNvPr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Pricing and Part Numb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C4B044-0D62-4530-896B-777CD826D235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710774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SIMPLY.connec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Video</a:t>
            </a:r>
          </a:p>
        </p:txBody>
      </p:sp>
    </p:spTree>
    <p:extLst>
      <p:ext uri="{BB962C8B-B14F-4D97-AF65-F5344CB8AC3E}">
        <p14:creationId xmlns:p14="http://schemas.microsoft.com/office/powerpoint/2010/main" val="37180014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3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Content Placeholder 8"/>
          <p:cNvSpPr>
            <a:spLocks noGrp="1"/>
          </p:cNvSpPr>
          <p:nvPr>
            <p:ph sz="quarter" idx="3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50"/>
          </p:nvPr>
        </p:nvSpPr>
        <p:spPr/>
        <p:txBody>
          <a:bodyPr>
            <a:normAutofit/>
          </a:bodyPr>
          <a:lstStyle/>
          <a:p>
            <a:r>
              <a:rPr lang="en-US" dirty="0"/>
              <a:t>Dashboard Dem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walk-thru</a:t>
            </a:r>
          </a:p>
        </p:txBody>
      </p:sp>
    </p:spTree>
    <p:extLst>
      <p:ext uri="{BB962C8B-B14F-4D97-AF65-F5344CB8AC3E}">
        <p14:creationId xmlns:p14="http://schemas.microsoft.com/office/powerpoint/2010/main" val="246308752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2463059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8"/>
          </p:nvPr>
        </p:nvSpPr>
        <p:spPr>
          <a:xfrm>
            <a:off x="2136629" y="2687387"/>
            <a:ext cx="7493288" cy="582908"/>
          </a:xfrm>
        </p:spPr>
        <p:txBody>
          <a:bodyPr/>
          <a:lstStyle/>
          <a:p>
            <a:pPr algn="ctr"/>
            <a:r>
              <a:rPr lang="en-US" sz="4800" dirty="0"/>
              <a:t>The Challenges of Remote Assets</a:t>
            </a:r>
          </a:p>
          <a:p>
            <a:endParaRPr lang="en-US" sz="4800" dirty="0"/>
          </a:p>
        </p:txBody>
      </p:sp>
      <p:sp>
        <p:nvSpPr>
          <p:cNvPr id="3" name="Parallelogram 2">
            <a:extLst>
              <a:ext uri="{FF2B5EF4-FFF2-40B4-BE49-F238E27FC236}">
                <a16:creationId xmlns:a16="http://schemas.microsoft.com/office/drawing/2014/main" id="{7F84F907-0D92-43D7-92B8-DA194B0BDB2D}"/>
              </a:ext>
            </a:extLst>
          </p:cNvPr>
          <p:cNvSpPr/>
          <p:nvPr/>
        </p:nvSpPr>
        <p:spPr>
          <a:xfrm>
            <a:off x="6017612" y="4558322"/>
            <a:ext cx="7828810" cy="821469"/>
          </a:xfrm>
          <a:prstGeom prst="parallelogram">
            <a:avLst>
              <a:gd name="adj" fmla="val 90053"/>
            </a:avLst>
          </a:prstGeom>
          <a:solidFill>
            <a:srgbClr val="1B365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331"/>
          <a:stretch/>
        </p:blipFill>
        <p:spPr>
          <a:xfrm>
            <a:off x="2770870" y="615233"/>
            <a:ext cx="1586711" cy="1715967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762"/>
          <a:stretch/>
        </p:blipFill>
        <p:spPr>
          <a:xfrm>
            <a:off x="4334034" y="592359"/>
            <a:ext cx="1470942" cy="1509563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2892"/>
          <a:stretch/>
        </p:blipFill>
        <p:spPr>
          <a:xfrm>
            <a:off x="1127055" y="560273"/>
            <a:ext cx="1586712" cy="1732126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40001"/>
          <a:stretch/>
        </p:blipFill>
        <p:spPr>
          <a:xfrm>
            <a:off x="5640224" y="358363"/>
            <a:ext cx="2866976" cy="197755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2031"/>
          <a:stretch/>
        </p:blipFill>
        <p:spPr>
          <a:xfrm>
            <a:off x="8927623" y="467519"/>
            <a:ext cx="2335803" cy="1863681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323"/>
          <a:stretch/>
        </p:blipFill>
        <p:spPr>
          <a:xfrm>
            <a:off x="7425243" y="621206"/>
            <a:ext cx="1811439" cy="1717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833059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99017" y="3801134"/>
            <a:ext cx="10727783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4800" b="1" dirty="0">
                <a:solidFill>
                  <a:schemeClr val="bg2">
                    <a:lumMod val="50000"/>
                  </a:schemeClr>
                </a:solidFill>
              </a:rPr>
              <a:t>SIMPLY.connect offers the customer a savings of over 70% on their remote access deployment costs</a:t>
            </a:r>
            <a:br>
              <a:rPr lang="en-US" sz="4400" dirty="0"/>
            </a:br>
            <a:endParaRPr lang="en-US" sz="4400" dirty="0"/>
          </a:p>
        </p:txBody>
      </p:sp>
      <p:sp>
        <p:nvSpPr>
          <p:cNvPr id="8" name="Rectangle 7"/>
          <p:cNvSpPr/>
          <p:nvPr/>
        </p:nvSpPr>
        <p:spPr>
          <a:xfrm rot="18900000">
            <a:off x="4200800" y="302884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3154680"/>
            <a:ext cx="12192000" cy="4296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endParaRPr lang="en-US" sz="3733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605108" y="12951"/>
            <a:ext cx="10515600" cy="1325562"/>
          </a:xfrm>
        </p:spPr>
        <p:txBody>
          <a:bodyPr>
            <a:normAutofit/>
          </a:bodyPr>
          <a:lstStyle/>
          <a:p>
            <a:r>
              <a:rPr lang="en-US" dirty="0"/>
              <a:t>Save time and money on remote access deployment costs</a:t>
            </a:r>
          </a:p>
        </p:txBody>
      </p:sp>
      <p:pic>
        <p:nvPicPr>
          <p:cNvPr id="6" name="Graphic 5" descr="Wireless router">
            <a:extLst>
              <a:ext uri="{FF2B5EF4-FFF2-40B4-BE49-F238E27FC236}">
                <a16:creationId xmlns:a16="http://schemas.microsoft.com/office/drawing/2014/main" id="{947703A7-E53A-4019-B2AC-F84792F6009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723835" y="1013025"/>
            <a:ext cx="914400" cy="91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F8162B67-BAAE-4486-AA4A-BAFC761AF160}"/>
              </a:ext>
            </a:extLst>
          </p:cNvPr>
          <p:cNvSpPr txBox="1"/>
          <p:nvPr/>
        </p:nvSpPr>
        <p:spPr>
          <a:xfrm>
            <a:off x="1988571" y="1813970"/>
            <a:ext cx="3626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400" dirty="0">
                <a:solidFill>
                  <a:srgbClr val="0D365D"/>
                </a:solidFill>
              </a:rPr>
              <a:t>5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3E3212-1A20-42DB-9476-F7317CAD33A5}"/>
              </a:ext>
            </a:extLst>
          </p:cNvPr>
          <p:cNvSpPr txBox="1"/>
          <p:nvPr/>
        </p:nvSpPr>
        <p:spPr>
          <a:xfrm>
            <a:off x="1685546" y="2170032"/>
            <a:ext cx="99097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minute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289947D5-BC7F-48CE-88C6-2B8E1B7A1B8B}"/>
              </a:ext>
            </a:extLst>
          </p:cNvPr>
          <p:cNvSpPr txBox="1"/>
          <p:nvPr/>
        </p:nvSpPr>
        <p:spPr>
          <a:xfrm>
            <a:off x="1426286" y="2442017"/>
            <a:ext cx="150949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/>
              <a:t>per device to </a:t>
            </a:r>
            <a:br>
              <a:rPr lang="en-US" sz="1200" dirty="0"/>
            </a:br>
            <a:r>
              <a:rPr lang="en-US" sz="1200" dirty="0"/>
              <a:t>configure manually</a:t>
            </a:r>
          </a:p>
        </p:txBody>
      </p:sp>
      <p:pic>
        <p:nvPicPr>
          <p:cNvPr id="18" name="Graphic 17" descr="Wireless router">
            <a:extLst>
              <a:ext uri="{FF2B5EF4-FFF2-40B4-BE49-F238E27FC236}">
                <a16:creationId xmlns:a16="http://schemas.microsoft.com/office/drawing/2014/main" id="{A125DB4B-A26C-4899-BD2C-D8248287205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28885" y="1190905"/>
            <a:ext cx="295465" cy="295465"/>
          </a:xfrm>
          <a:prstGeom prst="rect">
            <a:avLst/>
          </a:prstGeom>
        </p:spPr>
      </p:pic>
      <p:pic>
        <p:nvPicPr>
          <p:cNvPr id="19" name="Graphic 18" descr="Wireless router">
            <a:extLst>
              <a:ext uri="{FF2B5EF4-FFF2-40B4-BE49-F238E27FC236}">
                <a16:creationId xmlns:a16="http://schemas.microsoft.com/office/drawing/2014/main" id="{CF9F4030-6BA3-4CDC-B6D5-BFA45F37CB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81285" y="1343305"/>
            <a:ext cx="295465" cy="295465"/>
          </a:xfrm>
          <a:prstGeom prst="rect">
            <a:avLst/>
          </a:prstGeom>
        </p:spPr>
      </p:pic>
      <p:pic>
        <p:nvPicPr>
          <p:cNvPr id="21" name="Graphic 20" descr="Wireless router">
            <a:extLst>
              <a:ext uri="{FF2B5EF4-FFF2-40B4-BE49-F238E27FC236}">
                <a16:creationId xmlns:a16="http://schemas.microsoft.com/office/drawing/2014/main" id="{147441AF-1DE5-4594-8927-DC3C0590350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33685" y="1495705"/>
            <a:ext cx="295465" cy="295465"/>
          </a:xfrm>
          <a:prstGeom prst="rect">
            <a:avLst/>
          </a:prstGeom>
        </p:spPr>
      </p:pic>
      <p:pic>
        <p:nvPicPr>
          <p:cNvPr id="22" name="Graphic 21" descr="Wireless router">
            <a:extLst>
              <a:ext uri="{FF2B5EF4-FFF2-40B4-BE49-F238E27FC236}">
                <a16:creationId xmlns:a16="http://schemas.microsoft.com/office/drawing/2014/main" id="{46E65ADA-5A7D-4DB6-8761-19BCD75FA3F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86085" y="1648105"/>
            <a:ext cx="295465" cy="295465"/>
          </a:xfrm>
          <a:prstGeom prst="rect">
            <a:avLst/>
          </a:prstGeom>
        </p:spPr>
      </p:pic>
      <p:pic>
        <p:nvPicPr>
          <p:cNvPr id="23" name="Graphic 22" descr="Wireless router">
            <a:extLst>
              <a:ext uri="{FF2B5EF4-FFF2-40B4-BE49-F238E27FC236}">
                <a16:creationId xmlns:a16="http://schemas.microsoft.com/office/drawing/2014/main" id="{0A7426DA-2180-4FAA-80F5-81D6290591C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38485" y="1800505"/>
            <a:ext cx="295465" cy="295465"/>
          </a:xfrm>
          <a:prstGeom prst="rect">
            <a:avLst/>
          </a:prstGeom>
        </p:spPr>
      </p:pic>
      <p:pic>
        <p:nvPicPr>
          <p:cNvPr id="24" name="Graphic 23" descr="Wireless router">
            <a:extLst>
              <a:ext uri="{FF2B5EF4-FFF2-40B4-BE49-F238E27FC236}">
                <a16:creationId xmlns:a16="http://schemas.microsoft.com/office/drawing/2014/main" id="{283A7667-7363-4C9C-9216-333170D860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70641" y="1200240"/>
            <a:ext cx="295465" cy="295465"/>
          </a:xfrm>
          <a:prstGeom prst="rect">
            <a:avLst/>
          </a:prstGeom>
        </p:spPr>
      </p:pic>
      <p:pic>
        <p:nvPicPr>
          <p:cNvPr id="25" name="Graphic 24" descr="Wireless router">
            <a:extLst>
              <a:ext uri="{FF2B5EF4-FFF2-40B4-BE49-F238E27FC236}">
                <a16:creationId xmlns:a16="http://schemas.microsoft.com/office/drawing/2014/main" id="{8EE648B8-31E4-4ED6-8010-C09DA917E1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23041" y="1352640"/>
            <a:ext cx="295465" cy="295465"/>
          </a:xfrm>
          <a:prstGeom prst="rect">
            <a:avLst/>
          </a:prstGeom>
        </p:spPr>
      </p:pic>
      <p:pic>
        <p:nvPicPr>
          <p:cNvPr id="26" name="Graphic 25" descr="Wireless router">
            <a:extLst>
              <a:ext uri="{FF2B5EF4-FFF2-40B4-BE49-F238E27FC236}">
                <a16:creationId xmlns:a16="http://schemas.microsoft.com/office/drawing/2014/main" id="{D4B096EF-7C6D-46D8-B87C-C37DAA7C64F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675441" y="1505040"/>
            <a:ext cx="295465" cy="295465"/>
          </a:xfrm>
          <a:prstGeom prst="rect">
            <a:avLst/>
          </a:prstGeom>
        </p:spPr>
      </p:pic>
      <p:pic>
        <p:nvPicPr>
          <p:cNvPr id="27" name="Graphic 26" descr="Wireless router">
            <a:extLst>
              <a:ext uri="{FF2B5EF4-FFF2-40B4-BE49-F238E27FC236}">
                <a16:creationId xmlns:a16="http://schemas.microsoft.com/office/drawing/2014/main" id="{56FAECD4-928D-4DAA-9902-779CC0505F7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62674" y="1352640"/>
            <a:ext cx="295465" cy="295465"/>
          </a:xfrm>
          <a:prstGeom prst="rect">
            <a:avLst/>
          </a:prstGeom>
        </p:spPr>
      </p:pic>
      <p:pic>
        <p:nvPicPr>
          <p:cNvPr id="32" name="Graphic 31" descr="Wireless router">
            <a:extLst>
              <a:ext uri="{FF2B5EF4-FFF2-40B4-BE49-F238E27FC236}">
                <a16:creationId xmlns:a16="http://schemas.microsoft.com/office/drawing/2014/main" id="{D83A6E83-9FEB-4346-8006-FD67BC5C27D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15074" y="1505040"/>
            <a:ext cx="295465" cy="295465"/>
          </a:xfrm>
          <a:prstGeom prst="rect">
            <a:avLst/>
          </a:prstGeom>
        </p:spPr>
      </p:pic>
      <p:pic>
        <p:nvPicPr>
          <p:cNvPr id="33" name="Graphic 32" descr="Wireless router">
            <a:extLst>
              <a:ext uri="{FF2B5EF4-FFF2-40B4-BE49-F238E27FC236}">
                <a16:creationId xmlns:a16="http://schemas.microsoft.com/office/drawing/2014/main" id="{A6EA5A7D-6E30-4E3E-BFD6-D564665B2DC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67474" y="1657440"/>
            <a:ext cx="295465" cy="295465"/>
          </a:xfrm>
          <a:prstGeom prst="rect">
            <a:avLst/>
          </a:prstGeom>
        </p:spPr>
      </p:pic>
      <p:pic>
        <p:nvPicPr>
          <p:cNvPr id="34" name="Graphic 33" descr="Wireless router">
            <a:extLst>
              <a:ext uri="{FF2B5EF4-FFF2-40B4-BE49-F238E27FC236}">
                <a16:creationId xmlns:a16="http://schemas.microsoft.com/office/drawing/2014/main" id="{985126EB-0D6B-4FCE-BEB0-67792527AC5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9874" y="1809840"/>
            <a:ext cx="295465" cy="295465"/>
          </a:xfrm>
          <a:prstGeom prst="rect">
            <a:avLst/>
          </a:prstGeom>
        </p:spPr>
      </p:pic>
      <p:pic>
        <p:nvPicPr>
          <p:cNvPr id="35" name="Graphic 34" descr="Wireless router">
            <a:extLst>
              <a:ext uri="{FF2B5EF4-FFF2-40B4-BE49-F238E27FC236}">
                <a16:creationId xmlns:a16="http://schemas.microsoft.com/office/drawing/2014/main" id="{871F270A-1466-46D7-89E8-BD0E2791737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472274" y="1962240"/>
            <a:ext cx="295465" cy="295465"/>
          </a:xfrm>
          <a:prstGeom prst="rect">
            <a:avLst/>
          </a:prstGeom>
        </p:spPr>
      </p:pic>
      <p:pic>
        <p:nvPicPr>
          <p:cNvPr id="37" name="Graphic 36" descr="Wireless router">
            <a:extLst>
              <a:ext uri="{FF2B5EF4-FFF2-40B4-BE49-F238E27FC236}">
                <a16:creationId xmlns:a16="http://schemas.microsoft.com/office/drawing/2014/main" id="{A9D87F34-E788-4323-93EC-0260277956F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53530" y="1680108"/>
            <a:ext cx="295465" cy="295465"/>
          </a:xfrm>
          <a:prstGeom prst="rect">
            <a:avLst/>
          </a:prstGeom>
        </p:spPr>
      </p:pic>
      <p:pic>
        <p:nvPicPr>
          <p:cNvPr id="38" name="Graphic 37" descr="Wireless router">
            <a:extLst>
              <a:ext uri="{FF2B5EF4-FFF2-40B4-BE49-F238E27FC236}">
                <a16:creationId xmlns:a16="http://schemas.microsoft.com/office/drawing/2014/main" id="{AB3A8232-8F14-4DC5-A9C0-7A33D0A355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005930" y="1832508"/>
            <a:ext cx="295465" cy="295465"/>
          </a:xfrm>
          <a:prstGeom prst="rect">
            <a:avLst/>
          </a:prstGeom>
        </p:spPr>
      </p:pic>
      <p:pic>
        <p:nvPicPr>
          <p:cNvPr id="39" name="Graphic 38" descr="Wireless router">
            <a:extLst>
              <a:ext uri="{FF2B5EF4-FFF2-40B4-BE49-F238E27FC236}">
                <a16:creationId xmlns:a16="http://schemas.microsoft.com/office/drawing/2014/main" id="{800C85FE-5700-453C-9CF7-7F9BD7A4EFF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158330" y="1984908"/>
            <a:ext cx="295465" cy="295465"/>
          </a:xfrm>
          <a:prstGeom prst="rect">
            <a:avLst/>
          </a:prstGeom>
        </p:spPr>
      </p:pic>
      <p:pic>
        <p:nvPicPr>
          <p:cNvPr id="43" name="Graphic 42" descr="Wireless router">
            <a:extLst>
              <a:ext uri="{FF2B5EF4-FFF2-40B4-BE49-F238E27FC236}">
                <a16:creationId xmlns:a16="http://schemas.microsoft.com/office/drawing/2014/main" id="{5E19B850-DE9C-4064-803C-DF6028C293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835051" y="1994243"/>
            <a:ext cx="295465" cy="295465"/>
          </a:xfrm>
          <a:prstGeom prst="rect">
            <a:avLst/>
          </a:prstGeom>
        </p:spPr>
      </p:pic>
      <p:sp>
        <p:nvSpPr>
          <p:cNvPr id="47" name="TextBox 46">
            <a:extLst>
              <a:ext uri="{FF2B5EF4-FFF2-40B4-BE49-F238E27FC236}">
                <a16:creationId xmlns:a16="http://schemas.microsoft.com/office/drawing/2014/main" id="{F722EE75-06A6-45AB-B41D-F146427401B8}"/>
              </a:ext>
            </a:extLst>
          </p:cNvPr>
          <p:cNvSpPr txBox="1"/>
          <p:nvPr/>
        </p:nvSpPr>
        <p:spPr>
          <a:xfrm>
            <a:off x="3510954" y="2378052"/>
            <a:ext cx="17107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x </a:t>
            </a:r>
            <a:r>
              <a:rPr lang="en-US" sz="2400" dirty="0">
                <a:solidFill>
                  <a:srgbClr val="0D365D"/>
                </a:solidFill>
              </a:rPr>
              <a:t>850</a:t>
            </a:r>
            <a:r>
              <a:rPr lang="en-US" dirty="0"/>
              <a:t> devices</a:t>
            </a:r>
          </a:p>
        </p:txBody>
      </p:sp>
      <p:pic>
        <p:nvPicPr>
          <p:cNvPr id="10" name="Graphic 9" descr="Construction worker">
            <a:extLst>
              <a:ext uri="{FF2B5EF4-FFF2-40B4-BE49-F238E27FC236}">
                <a16:creationId xmlns:a16="http://schemas.microsoft.com/office/drawing/2014/main" id="{E6C53E25-AE94-428B-ADE6-104AF3156AB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755136" y="1539239"/>
            <a:ext cx="455664" cy="455664"/>
          </a:xfrm>
          <a:prstGeom prst="rect">
            <a:avLst/>
          </a:prstGeom>
        </p:spPr>
      </p:pic>
      <p:sp>
        <p:nvSpPr>
          <p:cNvPr id="48" name="TextBox 47">
            <a:extLst>
              <a:ext uri="{FF2B5EF4-FFF2-40B4-BE49-F238E27FC236}">
                <a16:creationId xmlns:a16="http://schemas.microsoft.com/office/drawing/2014/main" id="{67B77A99-0609-4099-B18D-F9993E324042}"/>
              </a:ext>
            </a:extLst>
          </p:cNvPr>
          <p:cNvSpPr txBox="1"/>
          <p:nvPr/>
        </p:nvSpPr>
        <p:spPr>
          <a:xfrm>
            <a:off x="6304634" y="2058022"/>
            <a:ext cx="1457450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800" dirty="0">
                <a:solidFill>
                  <a:srgbClr val="0D365D"/>
                </a:solidFill>
              </a:rPr>
              <a:t>70.83</a:t>
            </a:r>
            <a:r>
              <a:rPr lang="en-US" sz="2000" dirty="0"/>
              <a:t> </a:t>
            </a:r>
            <a:br>
              <a:rPr lang="en-US" sz="2000" dirty="0"/>
            </a:br>
            <a:r>
              <a:rPr lang="en-US" sz="2000" dirty="0"/>
              <a:t>labor hours</a:t>
            </a:r>
          </a:p>
        </p:txBody>
      </p:sp>
      <p:pic>
        <p:nvPicPr>
          <p:cNvPr id="13" name="Graphic 12" descr="Money">
            <a:extLst>
              <a:ext uri="{FF2B5EF4-FFF2-40B4-BE49-F238E27FC236}">
                <a16:creationId xmlns:a16="http://schemas.microsoft.com/office/drawing/2014/main" id="{94742787-3C0A-4A88-9FA5-BC05EEA4E0E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9553765" y="1092452"/>
            <a:ext cx="914400" cy="914400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BD8AD12C-9DCC-4317-92D4-4DE170BE5D34}"/>
              </a:ext>
            </a:extLst>
          </p:cNvPr>
          <p:cNvSpPr txBox="1"/>
          <p:nvPr/>
        </p:nvSpPr>
        <p:spPr>
          <a:xfrm>
            <a:off x="9356778" y="1880365"/>
            <a:ext cx="130837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800" dirty="0">
                <a:solidFill>
                  <a:srgbClr val="0D365D"/>
                </a:solidFill>
              </a:rPr>
              <a:t>$4,116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834FFA8-7350-482D-8A6B-35A9533E4C31}"/>
              </a:ext>
            </a:extLst>
          </p:cNvPr>
          <p:cNvSpPr txBox="1"/>
          <p:nvPr/>
        </p:nvSpPr>
        <p:spPr>
          <a:xfrm>
            <a:off x="9117401" y="2281343"/>
            <a:ext cx="17871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cost to deploy manually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9606395-51C1-4C3F-B0C1-9395B74DFBC7}"/>
              </a:ext>
            </a:extLst>
          </p:cNvPr>
          <p:cNvSpPr/>
          <p:nvPr/>
        </p:nvSpPr>
        <p:spPr>
          <a:xfrm rot="18900000">
            <a:off x="1979475" y="302884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8782EB7-13FB-4473-9582-C6875C545B97}"/>
              </a:ext>
            </a:extLst>
          </p:cNvPr>
          <p:cNvSpPr/>
          <p:nvPr/>
        </p:nvSpPr>
        <p:spPr>
          <a:xfrm rot="18900000">
            <a:off x="6823859" y="302369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E9C72B-44C6-40AE-9DCC-90B61CAC49A9}"/>
              </a:ext>
            </a:extLst>
          </p:cNvPr>
          <p:cNvSpPr/>
          <p:nvPr/>
        </p:nvSpPr>
        <p:spPr>
          <a:xfrm rot="18900000">
            <a:off x="9879798" y="3039727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</p:spTree>
    <p:extLst>
      <p:ext uri="{BB962C8B-B14F-4D97-AF65-F5344CB8AC3E}">
        <p14:creationId xmlns:p14="http://schemas.microsoft.com/office/powerpoint/2010/main" val="26159361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5" fill="hold">
                      <p:stCondLst>
                        <p:cond delay="indefinite"/>
                      </p:stCondLst>
                      <p:childTnLst>
                        <p:par>
                          <p:cTn id="66" fill="hold">
                            <p:stCondLst>
                              <p:cond delay="0"/>
                            </p:stCondLst>
                            <p:childTnLst>
                              <p:par>
                                <p:cTn id="6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5" fill="hold">
                      <p:stCondLst>
                        <p:cond delay="indefinite"/>
                      </p:stCondLst>
                      <p:childTnLst>
                        <p:par>
                          <p:cTn id="76" fill="hold">
                            <p:stCondLst>
                              <p:cond delay="0"/>
                            </p:stCondLst>
                            <p:childTnLst>
                              <p:par>
                                <p:cTn id="7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2" grpId="0" animBg="1"/>
      <p:bldP spid="7" grpId="0"/>
      <p:bldP spid="15" grpId="0"/>
      <p:bldP spid="17" grpId="0"/>
      <p:bldP spid="47" grpId="0"/>
      <p:bldP spid="48" grpId="0"/>
      <p:bldP spid="49" grpId="0"/>
      <p:bldP spid="50" grpId="0"/>
      <p:bldP spid="51" grpId="0" animBg="1"/>
      <p:bldP spid="52" grpId="0" animBg="1"/>
      <p:bldP spid="53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99017" y="3801134"/>
            <a:ext cx="10727783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bg2">
                    <a:lumMod val="50000"/>
                  </a:schemeClr>
                </a:solidFill>
              </a:rPr>
              <a:t>Customers can go full </a:t>
            </a:r>
            <a:r>
              <a:rPr lang="en-US" sz="4800" b="1" dirty="0" err="1">
                <a:solidFill>
                  <a:schemeClr val="bg2">
                    <a:lumMod val="50000"/>
                  </a:schemeClr>
                </a:solidFill>
              </a:rPr>
              <a:t>IIoT</a:t>
            </a:r>
            <a:r>
              <a:rPr lang="en-US" sz="4800" b="1" dirty="0">
                <a:solidFill>
                  <a:schemeClr val="bg2">
                    <a:lumMod val="50000"/>
                  </a:schemeClr>
                </a:solidFill>
              </a:rPr>
              <a:t> in less than 30 minutes with RLConnect24 + RA70</a:t>
            </a:r>
            <a:br>
              <a:rPr lang="en-US" sz="4400" dirty="0"/>
            </a:br>
            <a:endParaRPr lang="en-US" sz="4400" dirty="0"/>
          </a:p>
        </p:txBody>
      </p:sp>
      <p:sp>
        <p:nvSpPr>
          <p:cNvPr id="8" name="Rectangle 7"/>
          <p:cNvSpPr/>
          <p:nvPr/>
        </p:nvSpPr>
        <p:spPr>
          <a:xfrm rot="18900000">
            <a:off x="4200800" y="302884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0" y="3154680"/>
            <a:ext cx="12192000" cy="42961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1219170">
              <a:defRPr/>
            </a:pPr>
            <a:endParaRPr lang="en-US" sz="3733" b="1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4" name="Title 3"/>
          <p:cNvSpPr>
            <a:spLocks noGrp="1"/>
          </p:cNvSpPr>
          <p:nvPr>
            <p:ph type="title" idx="4294967295"/>
          </p:nvPr>
        </p:nvSpPr>
        <p:spPr>
          <a:xfrm>
            <a:off x="605108" y="12951"/>
            <a:ext cx="10515600" cy="1325562"/>
          </a:xfrm>
        </p:spPr>
        <p:txBody>
          <a:bodyPr>
            <a:normAutofit/>
          </a:bodyPr>
          <a:lstStyle/>
          <a:p>
            <a:r>
              <a:rPr lang="en-US" dirty="0"/>
              <a:t>Quickly deploy a complete </a:t>
            </a:r>
            <a:r>
              <a:rPr lang="en-US" dirty="0" err="1"/>
              <a:t>IIoT</a:t>
            </a:r>
            <a:r>
              <a:rPr lang="en-US" dirty="0"/>
              <a:t> solu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F8162B67-BAAE-4486-AA4A-BAFC761AF160}"/>
              </a:ext>
            </a:extLst>
          </p:cNvPr>
          <p:cNvSpPr txBox="1"/>
          <p:nvPr/>
        </p:nvSpPr>
        <p:spPr>
          <a:xfrm>
            <a:off x="5863845" y="2326168"/>
            <a:ext cx="222132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dirty="0">
                <a:solidFill>
                  <a:srgbClr val="0D365D"/>
                </a:solidFill>
              </a:rPr>
              <a:t>10</a:t>
            </a:r>
            <a:r>
              <a:rPr lang="en-US" dirty="0"/>
              <a:t> dashboards 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722EE75-06A6-45AB-B41D-F146427401B8}"/>
              </a:ext>
            </a:extLst>
          </p:cNvPr>
          <p:cNvSpPr txBox="1"/>
          <p:nvPr/>
        </p:nvSpPr>
        <p:spPr>
          <a:xfrm>
            <a:off x="9355883" y="2343706"/>
            <a:ext cx="137569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3200" dirty="0">
                <a:solidFill>
                  <a:srgbClr val="0D365D"/>
                </a:solidFill>
              </a:rPr>
              <a:t>10</a:t>
            </a:r>
            <a:r>
              <a:rPr lang="en-US" dirty="0"/>
              <a:t> alarm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7B77A99-0609-4099-B18D-F9993E324042}"/>
              </a:ext>
            </a:extLst>
          </p:cNvPr>
          <p:cNvSpPr txBox="1"/>
          <p:nvPr/>
        </p:nvSpPr>
        <p:spPr>
          <a:xfrm>
            <a:off x="3100751" y="2312232"/>
            <a:ext cx="2746265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3200" dirty="0">
                <a:solidFill>
                  <a:srgbClr val="0D365D"/>
                </a:solidFill>
              </a:rPr>
              <a:t>50k</a:t>
            </a:r>
            <a:r>
              <a:rPr lang="en-US" sz="2000" dirty="0"/>
              <a:t> data tag storage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834FFA8-7350-482D-8A6B-35A9533E4C31}"/>
              </a:ext>
            </a:extLst>
          </p:cNvPr>
          <p:cNvSpPr txBox="1"/>
          <p:nvPr/>
        </p:nvSpPr>
        <p:spPr>
          <a:xfrm>
            <a:off x="1208592" y="2451428"/>
            <a:ext cx="20033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devices and users 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59606395-51C1-4C3F-B0C1-9395B74DFBC7}"/>
              </a:ext>
            </a:extLst>
          </p:cNvPr>
          <p:cNvSpPr/>
          <p:nvPr/>
        </p:nvSpPr>
        <p:spPr>
          <a:xfrm rot="18900000">
            <a:off x="1979475" y="302884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2" name="Rectangle 51">
            <a:extLst>
              <a:ext uri="{FF2B5EF4-FFF2-40B4-BE49-F238E27FC236}">
                <a16:creationId xmlns:a16="http://schemas.microsoft.com/office/drawing/2014/main" id="{58782EB7-13FB-4473-9582-C6875C545B97}"/>
              </a:ext>
            </a:extLst>
          </p:cNvPr>
          <p:cNvSpPr/>
          <p:nvPr/>
        </p:nvSpPr>
        <p:spPr>
          <a:xfrm rot="18900000">
            <a:off x="6823859" y="3023696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B1E9C72B-44C6-40AE-9DCC-90B61CAC49A9}"/>
              </a:ext>
            </a:extLst>
          </p:cNvPr>
          <p:cNvSpPr/>
          <p:nvPr/>
        </p:nvSpPr>
        <p:spPr>
          <a:xfrm rot="18900000">
            <a:off x="9879798" y="3039727"/>
            <a:ext cx="327869" cy="327869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>
              <a:defRPr/>
            </a:pPr>
            <a:endParaRPr lang="en-US" sz="2400" dirty="0">
              <a:solidFill>
                <a:prstClr val="white"/>
              </a:solidFill>
              <a:latin typeface="Segoe UI"/>
            </a:endParaRPr>
          </a:p>
        </p:txBody>
      </p:sp>
      <p:pic>
        <p:nvPicPr>
          <p:cNvPr id="9" name="Graphic 8" descr="Gauge">
            <a:extLst>
              <a:ext uri="{FF2B5EF4-FFF2-40B4-BE49-F238E27FC236}">
                <a16:creationId xmlns:a16="http://schemas.microsoft.com/office/drawing/2014/main" id="{E3B36DA1-72FC-4D27-9AB6-BE09AB5B7CC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314856" y="1038056"/>
            <a:ext cx="1319302" cy="1319302"/>
          </a:xfrm>
          <a:prstGeom prst="rect">
            <a:avLst/>
          </a:prstGeom>
        </p:spPr>
      </p:pic>
      <p:pic>
        <p:nvPicPr>
          <p:cNvPr id="12" name="Graphic 11" descr="Warning">
            <a:extLst>
              <a:ext uri="{FF2B5EF4-FFF2-40B4-BE49-F238E27FC236}">
                <a16:creationId xmlns:a16="http://schemas.microsoft.com/office/drawing/2014/main" id="{E98F9FFB-084F-4517-8E16-90F6E2BE066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558803" y="1314557"/>
            <a:ext cx="1045253" cy="1045253"/>
          </a:xfrm>
          <a:prstGeom prst="rect">
            <a:avLst/>
          </a:prstGeom>
        </p:spPr>
      </p:pic>
      <p:pic>
        <p:nvPicPr>
          <p:cNvPr id="16" name="Graphic 15" descr="Label">
            <a:extLst>
              <a:ext uri="{FF2B5EF4-FFF2-40B4-BE49-F238E27FC236}">
                <a16:creationId xmlns:a16="http://schemas.microsoft.com/office/drawing/2014/main" id="{70B640A1-A554-499A-B864-7305A3AD23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743414" y="1445410"/>
            <a:ext cx="914400" cy="914400"/>
          </a:xfrm>
          <a:prstGeom prst="rect">
            <a:avLst/>
          </a:prstGeom>
        </p:spPr>
      </p:pic>
      <p:pic>
        <p:nvPicPr>
          <p:cNvPr id="28" name="Graphic 27" descr="Database">
            <a:extLst>
              <a:ext uri="{FF2B5EF4-FFF2-40B4-BE49-F238E27FC236}">
                <a16:creationId xmlns:a16="http://schemas.microsoft.com/office/drawing/2014/main" id="{55E9FF1A-9D71-4776-B036-56E1725CC88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391103" y="1436838"/>
            <a:ext cx="914400" cy="914400"/>
          </a:xfrm>
          <a:prstGeom prst="rect">
            <a:avLst/>
          </a:prstGeom>
        </p:spPr>
      </p:pic>
      <p:pic>
        <p:nvPicPr>
          <p:cNvPr id="30" name="Graphic 29" descr="Users">
            <a:extLst>
              <a:ext uri="{FF2B5EF4-FFF2-40B4-BE49-F238E27FC236}">
                <a16:creationId xmlns:a16="http://schemas.microsoft.com/office/drawing/2014/main" id="{FD3C5EC4-1201-4203-9072-0DC2AFD8A53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752037" y="1184402"/>
            <a:ext cx="914400" cy="914400"/>
          </a:xfrm>
          <a:prstGeom prst="rect">
            <a:avLst/>
          </a:prstGeom>
        </p:spPr>
      </p:pic>
      <p:pic>
        <p:nvPicPr>
          <p:cNvPr id="41" name="Graphic 40" descr="Infinity">
            <a:extLst>
              <a:ext uri="{FF2B5EF4-FFF2-40B4-BE49-F238E27FC236}">
                <a16:creationId xmlns:a16="http://schemas.microsoft.com/office/drawing/2014/main" id="{2E91F898-359B-4631-8747-6CF1C02A094F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837760" y="1944690"/>
            <a:ext cx="672008" cy="672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07701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  <p:bldP spid="8" grpId="0" animBg="1"/>
      <p:bldP spid="7" grpId="0"/>
      <p:bldP spid="47" grpId="0"/>
      <p:bldP spid="48" grpId="0"/>
      <p:bldP spid="50" grpId="0"/>
      <p:bldP spid="51" grpId="0" animBg="1"/>
      <p:bldP spid="52" grpId="0" animBg="1"/>
      <p:bldP spid="53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ct 2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5820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5996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Text Placeholder 14"/>
          <p:cNvSpPr>
            <a:spLocks noGrp="1"/>
          </p:cNvSpPr>
          <p:nvPr>
            <p:ph type="body" sz="quarter" idx="46"/>
          </p:nvPr>
        </p:nvSpPr>
        <p:spPr>
          <a:xfrm>
            <a:off x="857254" y="3784263"/>
            <a:ext cx="3428679" cy="211047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Cloud Portal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Central Point coordinates users and Remote Access routers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Cloud-based Device Manager (RA products)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Data logging &amp; Dashboarding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47"/>
          </p:nvPr>
        </p:nvSpPr>
        <p:spPr>
          <a:xfrm>
            <a:off x="4575778" y="3784263"/>
            <a:ext cx="3200400" cy="198148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VPN client for PC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stablishes secure connection through RLConnect24 to Remote Access router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Enables maintenance via native softwar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48"/>
          </p:nvPr>
        </p:nvSpPr>
        <p:spPr>
          <a:xfrm>
            <a:off x="8066022" y="3784263"/>
            <a:ext cx="3200400" cy="1720041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sz="1800" dirty="0"/>
              <a:t>Fast deployment via phone, tablet, or PC</a:t>
            </a:r>
          </a:p>
          <a:p>
            <a:pPr>
              <a:lnSpc>
                <a:spcPct val="100000"/>
              </a:lnSpc>
            </a:pPr>
            <a:r>
              <a:rPr lang="en-US" sz="1800" dirty="0"/>
              <a:t>QR codes quickly enable remote access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Components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24" name="Group 23"/>
          <p:cNvGrpSpPr/>
          <p:nvPr/>
        </p:nvGrpSpPr>
        <p:grpSpPr>
          <a:xfrm>
            <a:off x="1212437" y="1903906"/>
            <a:ext cx="2205409" cy="1441422"/>
            <a:chOff x="8331442" y="2784980"/>
            <a:chExt cx="3009241" cy="1966795"/>
          </a:xfrm>
        </p:grpSpPr>
        <p:pic>
          <p:nvPicPr>
            <p:cNvPr id="25" name="Grafik 4"/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1442" y="2784980"/>
              <a:ext cx="3009241" cy="1966795"/>
            </a:xfrm>
            <a:prstGeom prst="rect">
              <a:avLst/>
            </a:prstGeom>
          </p:spPr>
        </p:pic>
        <p:sp>
          <p:nvSpPr>
            <p:cNvPr id="36" name="Rectangle 35"/>
            <p:cNvSpPr/>
            <p:nvPr/>
          </p:nvSpPr>
          <p:spPr>
            <a:xfrm>
              <a:off x="8612570" y="3877021"/>
              <a:ext cx="2496291" cy="2108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7" name="Rectangle 36"/>
            <p:cNvSpPr/>
            <p:nvPr/>
          </p:nvSpPr>
          <p:spPr>
            <a:xfrm>
              <a:off x="8477912" y="3703828"/>
              <a:ext cx="2765606" cy="3693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i="1" dirty="0"/>
                <a:t>RLCONNECT</a:t>
              </a:r>
              <a:r>
                <a:rPr lang="en-US" b="1" i="1" dirty="0">
                  <a:solidFill>
                    <a:srgbClr val="E7001A"/>
                  </a:solidFill>
                </a:rPr>
                <a:t>24</a:t>
              </a:r>
            </a:p>
          </p:txBody>
        </p:sp>
      </p:grpSp>
      <p:pic>
        <p:nvPicPr>
          <p:cNvPr id="39" name="Picture 38" descr="Comparison of Macintosh models - Wikipedia, the free ...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2584" y="2065887"/>
            <a:ext cx="1904762" cy="1117460"/>
          </a:xfrm>
          <a:prstGeom prst="rect">
            <a:avLst/>
          </a:prstGeom>
        </p:spPr>
      </p:pic>
      <p:sp>
        <p:nvSpPr>
          <p:cNvPr id="40" name="Rectangle 39"/>
          <p:cNvSpPr/>
          <p:nvPr/>
        </p:nvSpPr>
        <p:spPr>
          <a:xfrm>
            <a:off x="5173360" y="2355136"/>
            <a:ext cx="1378040" cy="369332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en-US" b="1" i="1" dirty="0"/>
              <a:t>RLDIALUP</a:t>
            </a:r>
            <a:endParaRPr lang="en-US" b="1" i="1" dirty="0">
              <a:solidFill>
                <a:srgbClr val="E7001A"/>
              </a:solidFill>
            </a:endParaRPr>
          </a:p>
        </p:txBody>
      </p:sp>
      <p:pic>
        <p:nvPicPr>
          <p:cNvPr id="295943" name="Picture 7" descr="Fast Icon Images, Stock Photos &amp; Vectors | Shutterstock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2341" b="25023"/>
          <a:stretch/>
        </p:blipFill>
        <p:spPr bwMode="auto">
          <a:xfrm>
            <a:off x="8167393" y="2213343"/>
            <a:ext cx="1284178" cy="727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5941" name="Picture 5" descr="https://www.mbconnectline.com/fileadmin/user_upload/logo_simply.connect.pn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4556" y="2869106"/>
            <a:ext cx="1121186" cy="1975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/>
          <p:cNvPicPr>
            <a:picLocks noChangeAspect="1"/>
          </p:cNvPicPr>
          <p:nvPr/>
        </p:nvPicPr>
        <p:blipFill>
          <a:blip r:embed="rId11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10216934" y="2108498"/>
            <a:ext cx="746018" cy="1191482"/>
          </a:xfrm>
          <a:prstGeom prst="rect">
            <a:avLst/>
          </a:prstGeom>
        </p:spPr>
      </p:pic>
      <p:sp>
        <p:nvSpPr>
          <p:cNvPr id="2" name="Plus 1"/>
          <p:cNvSpPr/>
          <p:nvPr/>
        </p:nvSpPr>
        <p:spPr>
          <a:xfrm>
            <a:off x="9445743" y="2443942"/>
            <a:ext cx="515246" cy="446536"/>
          </a:xfrm>
          <a:prstGeom prst="mathPlus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169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9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59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uiExpand="1" build="p"/>
      <p:bldP spid="16" grpId="0" uiExpand="1" build="p"/>
      <p:bldP spid="17" grpId="0" uiExpand="1" build="p"/>
      <p:bldP spid="40" grpId="0" animBg="1"/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5165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>
          <a:xfrm>
            <a:off x="698812" y="-1"/>
            <a:ext cx="10937706" cy="1123951"/>
          </a:xfrm>
        </p:spPr>
        <p:txBody>
          <a:bodyPr/>
          <a:lstStyle/>
          <a:p>
            <a:r>
              <a:rPr lang="en-US" dirty="0"/>
              <a:t>RLConnect24 Customer Accoun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BBF0B4F1-CD8C-4CF8-A985-C978F04FF98C}"/>
              </a:ext>
            </a:extLst>
          </p:cNvPr>
          <p:cNvGrpSpPr/>
          <p:nvPr/>
        </p:nvGrpSpPr>
        <p:grpSpPr>
          <a:xfrm>
            <a:off x="7566929" y="1828355"/>
            <a:ext cx="3820929" cy="2497301"/>
            <a:chOff x="8331442" y="2784980"/>
            <a:chExt cx="3009241" cy="1966795"/>
          </a:xfrm>
        </p:grpSpPr>
        <p:pic>
          <p:nvPicPr>
            <p:cNvPr id="14" name="Grafik 4">
              <a:extLst>
                <a:ext uri="{FF2B5EF4-FFF2-40B4-BE49-F238E27FC236}">
                  <a16:creationId xmlns:a16="http://schemas.microsoft.com/office/drawing/2014/main" id="{577C9559-0332-45E1-8BB9-7DD1C1165A6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31442" y="2784980"/>
              <a:ext cx="3009241" cy="1966795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50471A79-7B92-47F4-B330-DA5D07622E7D}"/>
                </a:ext>
              </a:extLst>
            </p:cNvPr>
            <p:cNvSpPr/>
            <p:nvPr/>
          </p:nvSpPr>
          <p:spPr>
            <a:xfrm>
              <a:off x="8612570" y="3877021"/>
              <a:ext cx="2496291" cy="210885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4DE03DF-C733-4040-BEC0-A1AEB0C2CE22}"/>
                </a:ext>
              </a:extLst>
            </p:cNvPr>
            <p:cNvSpPr/>
            <p:nvPr/>
          </p:nvSpPr>
          <p:spPr>
            <a:xfrm>
              <a:off x="8477912" y="3703828"/>
              <a:ext cx="2765606" cy="36933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i="1" dirty="0"/>
                <a:t>RLCONNECT</a:t>
              </a:r>
              <a:r>
                <a:rPr lang="en-US" b="1" i="1" dirty="0">
                  <a:solidFill>
                    <a:srgbClr val="E7001A"/>
                  </a:solidFill>
                </a:rPr>
                <a:t>24</a:t>
              </a:r>
            </a:p>
          </p:txBody>
        </p:sp>
      </p:grpSp>
      <p:pic>
        <p:nvPicPr>
          <p:cNvPr id="4" name="Graphic 3" descr="Gauge">
            <a:extLst>
              <a:ext uri="{FF2B5EF4-FFF2-40B4-BE49-F238E27FC236}">
                <a16:creationId xmlns:a16="http://schemas.microsoft.com/office/drawing/2014/main" id="{48977F8E-6E6F-48AE-9EA0-605E3894ED8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85283" y="4449926"/>
            <a:ext cx="1584222" cy="1584222"/>
          </a:xfrm>
          <a:prstGeom prst="rect">
            <a:avLst/>
          </a:prstGeom>
        </p:spPr>
      </p:pic>
      <p:pic>
        <p:nvPicPr>
          <p:cNvPr id="6" name="Graphic 5" descr="Statistics">
            <a:extLst>
              <a:ext uri="{FF2B5EF4-FFF2-40B4-BE49-F238E27FC236}">
                <a16:creationId xmlns:a16="http://schemas.microsoft.com/office/drawing/2014/main" id="{06324883-D008-4E5E-9CAB-78BECFF44EF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7211038" y="4669835"/>
            <a:ext cx="1423252" cy="1423252"/>
          </a:xfrm>
          <a:prstGeom prst="rect">
            <a:avLst/>
          </a:prstGeom>
        </p:spPr>
      </p:pic>
      <p:pic>
        <p:nvPicPr>
          <p:cNvPr id="18" name="Graphic 17" descr="Users">
            <a:extLst>
              <a:ext uri="{FF2B5EF4-FFF2-40B4-BE49-F238E27FC236}">
                <a16:creationId xmlns:a16="http://schemas.microsoft.com/office/drawing/2014/main" id="{34E64912-048B-4527-AB0D-3D50A097CAC9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10320498" y="4508865"/>
            <a:ext cx="1584222" cy="1584222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A0B85A72-E1D9-462F-BACD-05F926755107}"/>
              </a:ext>
            </a:extLst>
          </p:cNvPr>
          <p:cNvSpPr txBox="1"/>
          <p:nvPr/>
        </p:nvSpPr>
        <p:spPr>
          <a:xfrm>
            <a:off x="4269771" y="6004010"/>
            <a:ext cx="1410964" cy="59503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400" baseline="30000" dirty="0"/>
              <a:t>*additional quantities </a:t>
            </a:r>
            <a:br>
              <a:rPr lang="en-US" sz="1400" baseline="30000" dirty="0"/>
            </a:br>
            <a:r>
              <a:rPr lang="en-US" sz="1400" baseline="30000" dirty="0"/>
              <a:t>available in increments </a:t>
            </a:r>
          </a:p>
          <a:p>
            <a:pPr algn="ctr"/>
            <a:r>
              <a:rPr lang="en-US" sz="1400" baseline="30000" dirty="0"/>
              <a:t>noted above.</a:t>
            </a:r>
            <a:endParaRPr lang="en-US" sz="1400" dirty="0"/>
          </a:p>
        </p:txBody>
      </p:sp>
      <p:graphicFrame>
        <p:nvGraphicFramePr>
          <p:cNvPr id="22" name="Content Placeholder 21">
            <a:extLst>
              <a:ext uri="{FF2B5EF4-FFF2-40B4-BE49-F238E27FC236}">
                <a16:creationId xmlns:a16="http://schemas.microsoft.com/office/drawing/2014/main" id="{DA1BA618-63FD-46A3-B18E-BC9C27256720}"/>
              </a:ext>
            </a:extLst>
          </p:cNvPr>
          <p:cNvGraphicFramePr>
            <a:graphicFrameLocks noGrp="1"/>
          </p:cNvGraphicFramePr>
          <p:nvPr>
            <p:ph sz="quarter" idx="11"/>
          </p:nvPr>
        </p:nvGraphicFramePr>
        <p:xfrm>
          <a:off x="771175" y="1828355"/>
          <a:ext cx="6191454" cy="410957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168127">
                  <a:extLst>
                    <a:ext uri="{9D8B030D-6E8A-4147-A177-3AD203B41FA5}">
                      <a16:colId xmlns:a16="http://schemas.microsoft.com/office/drawing/2014/main" val="3237244644"/>
                    </a:ext>
                  </a:extLst>
                </a:gridCol>
                <a:gridCol w="1341109">
                  <a:extLst>
                    <a:ext uri="{9D8B030D-6E8A-4147-A177-3AD203B41FA5}">
                      <a16:colId xmlns:a16="http://schemas.microsoft.com/office/drawing/2014/main" val="1592270016"/>
                    </a:ext>
                  </a:extLst>
                </a:gridCol>
                <a:gridCol w="1341109">
                  <a:extLst>
                    <a:ext uri="{9D8B030D-6E8A-4147-A177-3AD203B41FA5}">
                      <a16:colId xmlns:a16="http://schemas.microsoft.com/office/drawing/2014/main" val="1626590663"/>
                    </a:ext>
                  </a:extLst>
                </a:gridCol>
                <a:gridCol w="1341109">
                  <a:extLst>
                    <a:ext uri="{9D8B030D-6E8A-4147-A177-3AD203B41FA5}">
                      <a16:colId xmlns:a16="http://schemas.microsoft.com/office/drawing/2014/main" val="1762800650"/>
                    </a:ext>
                  </a:extLst>
                </a:gridCol>
              </a:tblGrid>
              <a:tr h="307004">
                <a:tc row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Feature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Complimentar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 anchor="ctr"/>
                </a:tc>
                <a:tc gridSpan="2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Additional Features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32802942"/>
                  </a:ext>
                </a:extLst>
              </a:tr>
              <a:tr h="451108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 </a:t>
                      </a:r>
                      <a:endParaRPr lang="en-US" sz="1100" dirty="0">
                        <a:effectLst/>
                      </a:endParaRPr>
                    </a:p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 dirty="0">
                          <a:effectLst/>
                        </a:rPr>
                        <a:t>Quantity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Quantity*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 anchor="ctr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200">
                          <a:effectLst/>
                        </a:rPr>
                        <a:t>Part Number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408791298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umber of accoun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93183517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umber of devices &amp; project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Unlimi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82775905"/>
                  </a:ext>
                </a:extLst>
              </a:tr>
              <a:tr h="33645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umber of user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Unlimi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endParaRPr lang="en-US" sz="10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598594617"/>
                  </a:ext>
                </a:extLst>
              </a:tr>
              <a:tr h="42103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umber of standard VPN Clients(3</a:t>
                      </a:r>
                      <a:r>
                        <a:rPr lang="en-US" sz="1100" baseline="30000">
                          <a:effectLst/>
                        </a:rPr>
                        <a:t>rd</a:t>
                      </a:r>
                      <a:r>
                        <a:rPr lang="en-US" sz="1100">
                          <a:effectLst/>
                        </a:rPr>
                        <a:t> party devices)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AC24VPNC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378173492"/>
                  </a:ext>
                </a:extLst>
              </a:tr>
              <a:tr h="336451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ata points (tags) per device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5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endParaRPr lang="en-US" sz="10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 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408434399"/>
                  </a:ext>
                </a:extLst>
              </a:tr>
              <a:tr h="421034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Number of VPN connections at one time to a single RA50/7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</a:rPr>
                        <a:t>1</a:t>
                      </a: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1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C24AVPN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4025724567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ashboard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C24DASH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48908944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Alarm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10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50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RAC24ALARM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21864840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Number of WEB2go connections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5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Unlimited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AC24W2G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64176182"/>
                  </a:ext>
                </a:extLst>
              </a:tr>
              <a:tr h="279436">
                <a:tc>
                  <a:txBody>
                    <a:bodyPr/>
                    <a:lstStyle/>
                    <a:p>
                      <a:pPr marL="0" marR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Data Consumption Upgrade/Month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>
                          <a:effectLst/>
                        </a:rPr>
                        <a:t>2GB</a:t>
                      </a:r>
                      <a:endParaRPr lang="en-US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2GB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5111" marR="45111" marT="45111" marB="45111"/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dirty="0">
                          <a:effectLst/>
                        </a:rPr>
                        <a:t>RAC24-DATA</a:t>
                      </a:r>
                      <a:endParaRPr lang="en-US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39439552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78898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84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4"/>
          <p:cNvSpPr>
            <a:spLocks noGrp="1"/>
          </p:cNvSpPr>
          <p:nvPr>
            <p:ph sz="quarter" idx="11"/>
          </p:nvPr>
        </p:nvSpPr>
        <p:spPr>
          <a:xfrm>
            <a:off x="691074" y="1901952"/>
            <a:ext cx="10945444" cy="4445060"/>
          </a:xfrm>
        </p:spPr>
        <p:txBody>
          <a:bodyPr>
            <a:normAutofit fontScale="55000" lnSpcReduction="20000"/>
          </a:bodyPr>
          <a:lstStyle/>
          <a:p>
            <a:r>
              <a:rPr lang="en-US" b="1" dirty="0"/>
              <a:t>RA50C – Compact Remote Access Router</a:t>
            </a:r>
          </a:p>
          <a:p>
            <a:pPr lvl="1"/>
            <a:r>
              <a:rPr lang="en-US" dirty="0"/>
              <a:t>Establishes a secured connection to RLCONNECT24</a:t>
            </a:r>
          </a:p>
          <a:p>
            <a:pPr lvl="1"/>
            <a:r>
              <a:rPr lang="en-US" dirty="0"/>
              <a:t>Easy to deploy in volume</a:t>
            </a:r>
          </a:p>
          <a:p>
            <a:pPr lvl="1"/>
            <a:r>
              <a:rPr lang="en-US" dirty="0"/>
              <a:t>Available with Ethernet, Wi-Fi, or Cellular</a:t>
            </a:r>
          </a:p>
          <a:p>
            <a:pPr lvl="1"/>
            <a:r>
              <a:rPr lang="en-US" dirty="0"/>
              <a:t>Compact metal case with DIN connector</a:t>
            </a:r>
          </a:p>
          <a:p>
            <a:endParaRPr lang="en-US" dirty="0"/>
          </a:p>
          <a:p>
            <a:r>
              <a:rPr lang="en-US" b="1" dirty="0"/>
              <a:t>RA70S - Remote Access Router</a:t>
            </a:r>
          </a:p>
          <a:p>
            <a:pPr lvl="1"/>
            <a:r>
              <a:rPr lang="en-US" dirty="0"/>
              <a:t>Remote Access and Data/Alarm Monitoring</a:t>
            </a:r>
          </a:p>
          <a:p>
            <a:pPr lvl="1"/>
            <a:r>
              <a:rPr lang="en-US" dirty="0"/>
              <a:t>SIMPLY.connect (3-Step provisioning) </a:t>
            </a:r>
          </a:p>
          <a:p>
            <a:pPr lvl="1"/>
            <a:r>
              <a:rPr lang="en-US" dirty="0"/>
              <a:t>Available with Ethernet or Cellular </a:t>
            </a:r>
          </a:p>
          <a:p>
            <a:pPr lvl="1"/>
            <a:r>
              <a:rPr lang="en-US" dirty="0"/>
              <a:t>Widgets and Dashboards available</a:t>
            </a:r>
          </a:p>
          <a:p>
            <a:pPr lvl="1"/>
            <a:r>
              <a:rPr lang="en-US" dirty="0"/>
              <a:t>Metal case with DIN connector</a:t>
            </a:r>
          </a:p>
          <a:p>
            <a:endParaRPr lang="en-US" dirty="0"/>
          </a:p>
          <a:p>
            <a:r>
              <a:rPr lang="en-US" b="1" dirty="0"/>
              <a:t>RA70K – Keyed Remote Access Router</a:t>
            </a:r>
          </a:p>
          <a:p>
            <a:pPr lvl="1"/>
            <a:r>
              <a:rPr lang="en-US" dirty="0"/>
              <a:t>Establishes a secured network with our central server </a:t>
            </a:r>
          </a:p>
          <a:p>
            <a:pPr lvl="1"/>
            <a:r>
              <a:rPr lang="en-US" dirty="0"/>
              <a:t>User control of connectivity via a key switch</a:t>
            </a:r>
          </a:p>
          <a:p>
            <a:pPr lvl="1"/>
            <a:r>
              <a:rPr lang="en-US" dirty="0"/>
              <a:t>Available with Ethernet, Serial, or Cellular</a:t>
            </a:r>
          </a:p>
          <a:p>
            <a:pPr lvl="1"/>
            <a:r>
              <a:rPr lang="en-US" dirty="0"/>
              <a:t>Widgets and Dashboards available</a:t>
            </a:r>
          </a:p>
          <a:p>
            <a:pPr lvl="1"/>
            <a:r>
              <a:rPr lang="en-US" dirty="0"/>
              <a:t>Compact metal case with DIN connector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Remote Access and Data Collection Equipmen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377827" y="1150684"/>
            <a:ext cx="1388450" cy="2206904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038726" y="2056912"/>
            <a:ext cx="1750421" cy="279563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061596" y="3454730"/>
            <a:ext cx="1830712" cy="3031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4938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0072" name="think-cell Slide" r:id="rId5" imgW="306" imgH="306" progId="TCLayout.ActiveDocument.1">
                  <p:embed/>
                </p:oleObj>
              </mc:Choice>
              <mc:Fallback>
                <p:oleObj name="think-cell Slide" r:id="rId5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Remote Access and Data Collection Equipment</a:t>
            </a:r>
          </a:p>
        </p:txBody>
      </p:sp>
      <p:sp>
        <p:nvSpPr>
          <p:cNvPr id="2" name="Text Placeholder 1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3" name="Content Placeholder 8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711566464"/>
              </p:ext>
            </p:extLst>
          </p:nvPr>
        </p:nvGraphicFramePr>
        <p:xfrm>
          <a:off x="713052" y="1466545"/>
          <a:ext cx="7291207" cy="50165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30508">
                  <a:extLst>
                    <a:ext uri="{9D8B030D-6E8A-4147-A177-3AD203B41FA5}">
                      <a16:colId xmlns:a16="http://schemas.microsoft.com/office/drawing/2014/main" val="537507021"/>
                    </a:ext>
                  </a:extLst>
                </a:gridCol>
                <a:gridCol w="1075520">
                  <a:extLst>
                    <a:ext uri="{9D8B030D-6E8A-4147-A177-3AD203B41FA5}">
                      <a16:colId xmlns:a16="http://schemas.microsoft.com/office/drawing/2014/main" val="1143365772"/>
                    </a:ext>
                  </a:extLst>
                </a:gridCol>
                <a:gridCol w="1942590">
                  <a:extLst>
                    <a:ext uri="{9D8B030D-6E8A-4147-A177-3AD203B41FA5}">
                      <a16:colId xmlns:a16="http://schemas.microsoft.com/office/drawing/2014/main" val="2093006087"/>
                    </a:ext>
                  </a:extLst>
                </a:gridCol>
                <a:gridCol w="1942589">
                  <a:extLst>
                    <a:ext uri="{9D8B030D-6E8A-4147-A177-3AD203B41FA5}">
                      <a16:colId xmlns:a16="http://schemas.microsoft.com/office/drawing/2014/main" val="4104806723"/>
                    </a:ext>
                  </a:extLst>
                </a:gridCol>
              </a:tblGrid>
              <a:tr h="311261">
                <a:tc>
                  <a:txBody>
                    <a:bodyPr/>
                    <a:lstStyle/>
                    <a:p>
                      <a:endParaRPr lang="en-US" sz="16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A50C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A70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/>
                        <a:t>RA70K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946276415"/>
                  </a:ext>
                </a:extLst>
              </a:tr>
              <a:tr h="282964">
                <a:tc gridSpan="4">
                  <a:txBody>
                    <a:bodyPr/>
                    <a:lstStyle/>
                    <a:p>
                      <a:r>
                        <a:rPr lang="en-US" sz="1400" b="1" dirty="0"/>
                        <a:t>Operation</a:t>
                      </a:r>
                    </a:p>
                  </a:txBody>
                  <a:tcPr marL="45720" marR="4572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110756992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Remote Acces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590480949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Data Monitoring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052475335"/>
                  </a:ext>
                </a:extLst>
              </a:tr>
              <a:tr h="340906">
                <a:tc>
                  <a:txBody>
                    <a:bodyPr/>
                    <a:lstStyle/>
                    <a:p>
                      <a:pPr algn="l"/>
                      <a:r>
                        <a:rPr lang="en-US" sz="1400" i="0" dirty="0"/>
                        <a:t>Keyed Security</a:t>
                      </a:r>
                      <a:r>
                        <a:rPr lang="en-US" sz="1400" i="0" baseline="0" dirty="0"/>
                        <a:t> </a:t>
                      </a:r>
                      <a:r>
                        <a:rPr lang="en-US" sz="1400" i="0" dirty="0"/>
                        <a:t>Operatio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694750268"/>
                  </a:ext>
                </a:extLst>
              </a:tr>
              <a:tr h="282964">
                <a:tc gridSpan="4">
                  <a:txBody>
                    <a:bodyPr/>
                    <a:lstStyle/>
                    <a:p>
                      <a:r>
                        <a:rPr lang="en-US" sz="1400" b="1" dirty="0"/>
                        <a:t>Physical</a:t>
                      </a:r>
                      <a:r>
                        <a:rPr lang="en-US" sz="1400" b="1" baseline="0" dirty="0"/>
                        <a:t> Connectivity</a:t>
                      </a:r>
                      <a:endParaRPr lang="en-US" sz="1400" b="1" dirty="0"/>
                    </a:p>
                  </a:txBody>
                  <a:tcPr marL="45720" marR="4572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933424987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Integrated Ethernet Switch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3-Port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-Ports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4-Ports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0030560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WAN Ethernet Por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972442356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Wi-Fi Communicatio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pt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361401472"/>
                  </a:ext>
                </a:extLst>
              </a:tr>
              <a:tr h="337233">
                <a:tc>
                  <a:txBody>
                    <a:bodyPr/>
                    <a:lstStyle/>
                    <a:p>
                      <a:r>
                        <a:rPr lang="en-US" sz="1400" dirty="0"/>
                        <a:t>Cellular Communicatio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pt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pt</a:t>
                      </a:r>
                      <a:r>
                        <a:rPr lang="en-US" sz="1600" dirty="0"/>
                        <a:t>.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Opt</a:t>
                      </a:r>
                      <a:r>
                        <a:rPr lang="en-US" sz="1600" dirty="0"/>
                        <a:t>.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449060677"/>
                  </a:ext>
                </a:extLst>
              </a:tr>
              <a:tr h="285691">
                <a:tc>
                  <a:txBody>
                    <a:bodyPr/>
                    <a:lstStyle/>
                    <a:p>
                      <a:pPr algn="l"/>
                      <a:r>
                        <a:rPr lang="en-US" sz="1400" i="0" dirty="0"/>
                        <a:t>Serial</a:t>
                      </a:r>
                      <a:r>
                        <a:rPr lang="en-US" sz="1400" i="0" baseline="0" dirty="0"/>
                        <a:t> Communication</a:t>
                      </a:r>
                      <a:endParaRPr lang="en-US" sz="1400" i="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Opt.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1879634509"/>
                  </a:ext>
                </a:extLst>
              </a:tr>
              <a:tr h="282964">
                <a:tc gridSpan="4">
                  <a:txBody>
                    <a:bodyPr/>
                    <a:lstStyle/>
                    <a:p>
                      <a:pPr algn="l"/>
                      <a:r>
                        <a:rPr lang="en-US" sz="1400" b="1" i="0" dirty="0"/>
                        <a:t>Tunnel/Security</a:t>
                      </a:r>
                    </a:p>
                  </a:txBody>
                  <a:tcPr marL="45720" marR="45720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tc hMerge="1">
                  <a:txBody>
                    <a:bodyPr/>
                    <a:lstStyle/>
                    <a:p>
                      <a:pPr algn="ctr"/>
                      <a:endParaRPr lang="en-US" sz="16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en-US" sz="1400" dirty="0"/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4029796772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RLConnect24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3991287142"/>
                  </a:ext>
                </a:extLst>
              </a:tr>
              <a:tr h="345545">
                <a:tc>
                  <a:txBody>
                    <a:bodyPr/>
                    <a:lstStyle/>
                    <a:p>
                      <a:r>
                        <a:rPr lang="en-US" sz="1400" dirty="0"/>
                        <a:t>OpenVPN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627316020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baseline="0" dirty="0" err="1"/>
                        <a:t>Ipsec</a:t>
                      </a:r>
                      <a:r>
                        <a:rPr lang="en-US" sz="1400" baseline="0" dirty="0"/>
                        <a:t>, L2TP,PPTP</a:t>
                      </a:r>
                      <a:endParaRPr lang="en-US" sz="1400" dirty="0"/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  Y*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559541600"/>
                  </a:ext>
                </a:extLst>
              </a:tr>
              <a:tr h="282964">
                <a:tc>
                  <a:txBody>
                    <a:bodyPr/>
                    <a:lstStyle/>
                    <a:p>
                      <a:r>
                        <a:rPr lang="en-US" sz="1400" dirty="0"/>
                        <a:t>SIMPLY.connect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-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/>
                        <a:t>Y</a:t>
                      </a:r>
                    </a:p>
                  </a:txBody>
                  <a:tcPr marL="45720" marR="45720"/>
                </a:tc>
                <a:extLst>
                  <a:ext uri="{0D108BD9-81ED-4DB2-BD59-A6C34878D82A}">
                    <a16:rowId xmlns:a16="http://schemas.microsoft.com/office/drawing/2014/main" val="2476619249"/>
                  </a:ext>
                </a:extLst>
              </a:tr>
            </a:tbl>
          </a:graphicData>
        </a:graphic>
      </p:graphicFrame>
      <p:pic>
        <p:nvPicPr>
          <p:cNvPr id="10" name="Picture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188244" y="3802302"/>
            <a:ext cx="1310354" cy="2092794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072840" y="1391731"/>
            <a:ext cx="1115404" cy="1772906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0653046" y="1632778"/>
            <a:ext cx="1310354" cy="21695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37029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3129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41" name="Group 40"/>
          <p:cNvGrpSpPr/>
          <p:nvPr/>
        </p:nvGrpSpPr>
        <p:grpSpPr>
          <a:xfrm>
            <a:off x="4383893" y="3053665"/>
            <a:ext cx="2765606" cy="1319787"/>
            <a:chOff x="4383893" y="3053665"/>
            <a:chExt cx="2765606" cy="1319787"/>
          </a:xfrm>
        </p:grpSpPr>
        <p:pic>
          <p:nvPicPr>
            <p:cNvPr id="42" name="Grafik 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756170" y="3053665"/>
              <a:ext cx="2019304" cy="1319787"/>
            </a:xfrm>
            <a:prstGeom prst="rect">
              <a:avLst/>
            </a:prstGeom>
          </p:spPr>
        </p:pic>
        <p:sp>
          <p:nvSpPr>
            <p:cNvPr id="43" name="Rectangle 42"/>
            <p:cNvSpPr/>
            <p:nvPr/>
          </p:nvSpPr>
          <p:spPr>
            <a:xfrm>
              <a:off x="4910327" y="3779199"/>
              <a:ext cx="1680973" cy="159389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/>
            <p:cNvSpPr/>
            <p:nvPr/>
          </p:nvSpPr>
          <p:spPr>
            <a:xfrm>
              <a:off x="4383893" y="3665136"/>
              <a:ext cx="2765606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en-US" b="1" i="1" dirty="0"/>
                <a:t>RLCONNECT</a:t>
              </a:r>
              <a:r>
                <a:rPr lang="en-US" b="1" i="1" dirty="0">
                  <a:solidFill>
                    <a:srgbClr val="E7001A"/>
                  </a:solidFill>
                </a:rPr>
                <a:t>24</a:t>
              </a:r>
            </a:p>
          </p:txBody>
        </p:sp>
      </p:grpSp>
      <p:sp>
        <p:nvSpPr>
          <p:cNvPr id="7" name="Text Placeholder 6"/>
          <p:cNvSpPr>
            <a:spLocks noGrp="1"/>
          </p:cNvSpPr>
          <p:nvPr>
            <p:ph type="body" sz="quarter" idx="50"/>
          </p:nvPr>
        </p:nvSpPr>
        <p:spPr/>
        <p:txBody>
          <a:bodyPr/>
          <a:lstStyle/>
          <a:p>
            <a:r>
              <a:rPr lang="en-US" dirty="0"/>
              <a:t>Example of Remote Acces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r>
              <a:rPr lang="en-US" dirty="0"/>
              <a:t>Multi-Location Deployment</a:t>
            </a:r>
          </a:p>
        </p:txBody>
      </p:sp>
      <p:pic>
        <p:nvPicPr>
          <p:cNvPr id="10" name="Grafik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366" y="2422772"/>
            <a:ext cx="531877" cy="576073"/>
          </a:xfrm>
          <a:prstGeom prst="rect">
            <a:avLst/>
          </a:prstGeom>
        </p:spPr>
      </p:pic>
      <p:pic>
        <p:nvPicPr>
          <p:cNvPr id="11" name="Grafik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4366" y="1372721"/>
            <a:ext cx="531877" cy="565405"/>
          </a:xfrm>
          <a:prstGeom prst="rect">
            <a:avLst/>
          </a:prstGeom>
        </p:spPr>
      </p:pic>
      <p:pic>
        <p:nvPicPr>
          <p:cNvPr id="12" name="Grafik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76968" y="3362932"/>
            <a:ext cx="797243" cy="705254"/>
          </a:xfrm>
          <a:prstGeom prst="rect">
            <a:avLst/>
          </a:prstGeom>
        </p:spPr>
      </p:pic>
      <p:pic>
        <p:nvPicPr>
          <p:cNvPr id="13" name="Picture 2" descr="http://www.schlaffabrik.net/assets/images/9/icon-service-maennchen-8a30b339.jpe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71608" y="3178000"/>
            <a:ext cx="951865" cy="951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Grafik 1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6906" y="2467318"/>
            <a:ext cx="499873" cy="502921"/>
          </a:xfrm>
          <a:prstGeom prst="rect">
            <a:avLst/>
          </a:prstGeom>
        </p:spPr>
      </p:pic>
      <p:cxnSp>
        <p:nvCxnSpPr>
          <p:cNvPr id="15" name="Gewinkelte Verbindung 21"/>
          <p:cNvCxnSpPr>
            <a:stCxn id="11" idx="1"/>
          </p:cNvCxnSpPr>
          <p:nvPr/>
        </p:nvCxnSpPr>
        <p:spPr>
          <a:xfrm rot="10800000" flipV="1">
            <a:off x="9548698" y="1655424"/>
            <a:ext cx="915668" cy="1069722"/>
          </a:xfrm>
          <a:prstGeom prst="bentConnector3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16" name="Gerade Verbindung 26"/>
          <p:cNvCxnSpPr/>
          <p:nvPr/>
        </p:nvCxnSpPr>
        <p:spPr>
          <a:xfrm flipH="1" flipV="1">
            <a:off x="8786779" y="2728206"/>
            <a:ext cx="1677586" cy="15795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18" name="Abgerundete rechteckige Legende 40"/>
          <p:cNvSpPr/>
          <p:nvPr/>
        </p:nvSpPr>
        <p:spPr>
          <a:xfrm>
            <a:off x="1322285" y="4682054"/>
            <a:ext cx="1653304" cy="986176"/>
          </a:xfrm>
          <a:prstGeom prst="wedgeRoundRectCallout">
            <a:avLst>
              <a:gd name="adj1" fmla="val 50902"/>
              <a:gd name="adj2" fmla="val -117436"/>
              <a:gd name="adj3" fmla="val 16667"/>
            </a:avLst>
          </a:prstGeom>
          <a:ln w="28575"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de-DE" sz="1600" dirty="0"/>
              <a:t>Laptop via </a:t>
            </a:r>
            <a:r>
              <a:rPr lang="de-DE" sz="1600" b="1" dirty="0"/>
              <a:t>RLDIALUP</a:t>
            </a:r>
            <a:r>
              <a:rPr lang="de-DE" sz="1600" dirty="0"/>
              <a:t> Software</a:t>
            </a:r>
          </a:p>
        </p:txBody>
      </p:sp>
      <p:pic>
        <p:nvPicPr>
          <p:cNvPr id="21" name="Grafik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950" y="4819871"/>
            <a:ext cx="531877" cy="576073"/>
          </a:xfrm>
          <a:prstGeom prst="rect">
            <a:avLst/>
          </a:prstGeom>
        </p:spPr>
      </p:pic>
      <p:pic>
        <p:nvPicPr>
          <p:cNvPr id="22" name="Grafik 12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951" y="5936012"/>
            <a:ext cx="531877" cy="565405"/>
          </a:xfrm>
          <a:prstGeom prst="rect">
            <a:avLst/>
          </a:prstGeom>
        </p:spPr>
      </p:pic>
      <p:pic>
        <p:nvPicPr>
          <p:cNvPr id="23" name="Grafik 1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11491" y="4850079"/>
            <a:ext cx="499873" cy="502921"/>
          </a:xfrm>
          <a:prstGeom prst="rect">
            <a:avLst/>
          </a:prstGeom>
        </p:spPr>
      </p:pic>
      <p:cxnSp>
        <p:nvCxnSpPr>
          <p:cNvPr id="24" name="Gewinkelte Verbindung 29"/>
          <p:cNvCxnSpPr>
            <a:stCxn id="22" idx="1"/>
          </p:cNvCxnSpPr>
          <p:nvPr/>
        </p:nvCxnSpPr>
        <p:spPr>
          <a:xfrm rot="10800000">
            <a:off x="9473283" y="5107907"/>
            <a:ext cx="915668" cy="1110808"/>
          </a:xfrm>
          <a:prstGeom prst="bentConnector3">
            <a:avLst>
              <a:gd name="adj1" fmla="val 50000"/>
            </a:avLst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cxnSp>
        <p:nvCxnSpPr>
          <p:cNvPr id="25" name="Gerade Verbindung 26"/>
          <p:cNvCxnSpPr>
            <a:stCxn id="21" idx="1"/>
            <a:endCxn id="23" idx="3"/>
          </p:cNvCxnSpPr>
          <p:nvPr/>
        </p:nvCxnSpPr>
        <p:spPr>
          <a:xfrm flipH="1" flipV="1">
            <a:off x="8711364" y="5101540"/>
            <a:ext cx="1677586" cy="6368"/>
          </a:xfrm>
          <a:prstGeom prst="line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pic>
        <p:nvPicPr>
          <p:cNvPr id="28" name="Grafik 1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88950" y="3751766"/>
            <a:ext cx="531877" cy="565405"/>
          </a:xfrm>
          <a:prstGeom prst="rect">
            <a:avLst/>
          </a:prstGeom>
        </p:spPr>
      </p:pic>
      <p:cxnSp>
        <p:nvCxnSpPr>
          <p:cNvPr id="29" name="Gewinkelte Verbindung 21"/>
          <p:cNvCxnSpPr>
            <a:stCxn id="28" idx="1"/>
          </p:cNvCxnSpPr>
          <p:nvPr/>
        </p:nvCxnSpPr>
        <p:spPr>
          <a:xfrm rot="10800000" flipV="1">
            <a:off x="9473282" y="4034469"/>
            <a:ext cx="915668" cy="1069722"/>
          </a:xfrm>
          <a:prstGeom prst="bentConnector3">
            <a:avLst/>
          </a:prstGeom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sp>
        <p:nvSpPr>
          <p:cNvPr id="30" name="Rounded Rectangle 29"/>
          <p:cNvSpPr/>
          <p:nvPr/>
        </p:nvSpPr>
        <p:spPr>
          <a:xfrm>
            <a:off x="8286906" y="1187777"/>
            <a:ext cx="2846150" cy="2273264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ounded Rectangle 30"/>
          <p:cNvSpPr/>
          <p:nvPr/>
        </p:nvSpPr>
        <p:spPr>
          <a:xfrm>
            <a:off x="8211490" y="3645985"/>
            <a:ext cx="3015833" cy="2933923"/>
          </a:xfrm>
          <a:prstGeom prst="roundRect">
            <a:avLst/>
          </a:prstGeom>
          <a:noFill/>
          <a:ln w="28575"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2" name="Rectangle 31"/>
          <p:cNvSpPr/>
          <p:nvPr/>
        </p:nvSpPr>
        <p:spPr>
          <a:xfrm rot="5400000">
            <a:off x="10900490" y="1972516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ITE 1</a:t>
            </a:r>
            <a:endParaRPr lang="en-US" dirty="0"/>
          </a:p>
        </p:txBody>
      </p:sp>
      <p:sp>
        <p:nvSpPr>
          <p:cNvPr id="33" name="Rectangle 32"/>
          <p:cNvSpPr/>
          <p:nvPr/>
        </p:nvSpPr>
        <p:spPr>
          <a:xfrm rot="5400000">
            <a:off x="11014448" y="4963503"/>
            <a:ext cx="742511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dirty="0"/>
              <a:t>SITE 2</a:t>
            </a:r>
            <a:endParaRPr lang="en-US" dirty="0"/>
          </a:p>
        </p:txBody>
      </p:sp>
      <p:sp>
        <p:nvSpPr>
          <p:cNvPr id="38" name="&quot;No&quot; Symbol 37"/>
          <p:cNvSpPr/>
          <p:nvPr/>
        </p:nvSpPr>
        <p:spPr>
          <a:xfrm>
            <a:off x="10275864" y="2248065"/>
            <a:ext cx="956119" cy="956119"/>
          </a:xfrm>
          <a:prstGeom prst="noSmoking">
            <a:avLst>
              <a:gd name="adj" fmla="val 11836"/>
            </a:avLst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pic>
        <p:nvPicPr>
          <p:cNvPr id="39" name="Picture 38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736441" y="2179825"/>
            <a:ext cx="811353" cy="811353"/>
          </a:xfrm>
          <a:prstGeom prst="rect">
            <a:avLst/>
          </a:prstGeom>
        </p:spPr>
      </p:pic>
      <p:pic>
        <p:nvPicPr>
          <p:cNvPr id="40" name="Picture 39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212797" y="2402510"/>
            <a:ext cx="260485" cy="658368"/>
          </a:xfrm>
          <a:prstGeom prst="rect">
            <a:avLst/>
          </a:prstGeom>
        </p:spPr>
      </p:pic>
      <p:pic>
        <p:nvPicPr>
          <p:cNvPr id="45" name="Picture 44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9206818" y="4800636"/>
            <a:ext cx="260485" cy="6583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64525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6" presetClass="emph" presetSubtype="0" repeatCount="5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1000" tmFilter="0, 0; .2, .5; .8, .5; 1, 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  <p:animScale>
                                      <p:cBhvr>
                                        <p:cTn id="7" dur="500" autoRev="1" fill="hold"/>
                                        <p:tgtEl>
                                          <p:spTgt spid="38"/>
                                        </p:tgtEl>
                                      </p:cBhvr>
                                      <p:by x="105000" y="105000"/>
                                    </p:animScale>
                                  </p:childTnLst>
                                  <p:subTnLst>
                                    <p:set>
                                      <p:cBhvr override="childStyle">
                                        <p:cTn dur="1" fill="hold" display="0" masterRel="sameClick" afterEffect="1">
                                          <p:stCondLst>
                                            <p:cond evt="end" delay="0">
                                              <p:tn val="5"/>
                                            </p:cond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sub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animBg="1"/>
      <p:bldP spid="3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PECzKF3u4mr2t3HxmOZq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HJA_VqhE7AcE2w8XwJ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nm6amffV4IeWIBhshq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f58yjIOOss22Uw0TAJ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DZKT_VNPOUsQY5er1M82A"/>
</p:tagLst>
</file>

<file path=ppt/theme/theme1.xml><?xml version="1.0" encoding="utf-8"?>
<a:theme xmlns:a="http://schemas.openxmlformats.org/drawingml/2006/main" name="TITLE Layouts">
  <a:themeElements>
    <a:clrScheme name="REDLION COLORS">
      <a:dk1>
        <a:srgbClr val="000000"/>
      </a:dk1>
      <a:lt1>
        <a:srgbClr val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2D0591CD-2DE0-4801-A698-B3C5692606DF}"/>
    </a:ext>
  </a:extLst>
</a:theme>
</file>

<file path=ppt/theme/theme2.xml><?xml version="1.0" encoding="utf-8"?>
<a:theme xmlns:a="http://schemas.openxmlformats.org/drawingml/2006/main" name="AGENDA Layouts">
  <a:themeElements>
    <a:clrScheme name="RLC2019_3">
      <a:dk1>
        <a:sysClr val="windowText" lastClr="000000"/>
      </a:dk1>
      <a:lt1>
        <a:sysClr val="window" lastClr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9040F483-9352-44D9-BDDE-C3781EDB9086}"/>
    </a:ext>
  </a:extLst>
</a:theme>
</file>

<file path=ppt/theme/theme3.xml><?xml version="1.0" encoding="utf-8"?>
<a:theme xmlns:a="http://schemas.openxmlformats.org/drawingml/2006/main" name="CONTENT Layouts">
  <a:themeElements>
    <a:clrScheme name="RLC2019_3">
      <a:dk1>
        <a:sysClr val="windowText" lastClr="000000"/>
      </a:dk1>
      <a:lt1>
        <a:sysClr val="window" lastClr="FFFFFF"/>
      </a:lt1>
      <a:dk2>
        <a:srgbClr val="1B365D"/>
      </a:dk2>
      <a:lt2>
        <a:srgbClr val="FFFFFF"/>
      </a:lt2>
      <a:accent1>
        <a:srgbClr val="1B365D"/>
      </a:accent1>
      <a:accent2>
        <a:srgbClr val="63666A"/>
      </a:accent2>
      <a:accent3>
        <a:srgbClr val="AB2328"/>
      </a:accent3>
      <a:accent4>
        <a:srgbClr val="89ABE3"/>
      </a:accent4>
      <a:accent5>
        <a:srgbClr val="FFB81C"/>
      </a:accent5>
      <a:accent6>
        <a:srgbClr val="971B2F"/>
      </a:accent6>
      <a:hlink>
        <a:srgbClr val="D0D3D4"/>
      </a:hlink>
      <a:folHlink>
        <a:srgbClr val="CFD2D3"/>
      </a:folHlink>
    </a:clrScheme>
    <a:fontScheme name="New Brand 2">
      <a:majorFont>
        <a:latin typeface="Titillium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2020 EXTERNAL Template.potx" id="{EC389C42-45C2-40FA-9BD5-AA9DD26CE736}" vid="{D3AFFEB5-1516-4109-977E-2CDE33EA757F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7FF888EE8CDAE43B1B60A6FB8101042" ma:contentTypeVersion="12" ma:contentTypeDescription="Create a new document." ma:contentTypeScope="" ma:versionID="a4d814976bda2dd1d0e274f87cd5067e">
  <xsd:schema xmlns:xsd="http://www.w3.org/2001/XMLSchema" xmlns:xs="http://www.w3.org/2001/XMLSchema" xmlns:p="http://schemas.microsoft.com/office/2006/metadata/properties" xmlns:ns3="689014f4-f7be-4296-bf1e-9900fceb56c6" xmlns:ns4="57cc39e4-f9d3-47b1-ad6d-61fd59b40fa4" targetNamespace="http://schemas.microsoft.com/office/2006/metadata/properties" ma:root="true" ma:fieldsID="328fd93d6c06d89a440164f3b1efd69a" ns3:_="" ns4:_="">
    <xsd:import namespace="689014f4-f7be-4296-bf1e-9900fceb56c6"/>
    <xsd:import namespace="57cc39e4-f9d3-47b1-ad6d-61fd59b40fa4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9014f4-f7be-4296-bf1e-9900fceb56c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7cc39e4-f9d3-47b1-ad6d-61fd59b40fa4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4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3F7168A-0F96-4D03-A883-B404AD6EDAE5}">
  <ds:schemaRefs>
    <ds:schemaRef ds:uri="689014f4-f7be-4296-bf1e-9900fceb56c6"/>
    <ds:schemaRef ds:uri="http://schemas.microsoft.com/office/2006/documentManagement/types"/>
    <ds:schemaRef ds:uri="http://purl.org/dc/elements/1.1/"/>
    <ds:schemaRef ds:uri="http://schemas.microsoft.com/office/2006/metadata/properties"/>
    <ds:schemaRef ds:uri="57cc39e4-f9d3-47b1-ad6d-61fd59b40fa4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9F50E978-CA82-46B2-870B-1F755CA5B7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89014f4-f7be-4296-bf1e-9900fceb56c6"/>
    <ds:schemaRef ds:uri="57cc39e4-f9d3-47b1-ad6d-61fd59b40fa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636DBA3-5BF8-41D3-A716-1FDAA8020C85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 EXTERNAL Template</Template>
  <TotalTime>62467</TotalTime>
  <Words>656</Words>
  <Application>Microsoft Office PowerPoint</Application>
  <PresentationFormat>Widescreen</PresentationFormat>
  <Paragraphs>186</Paragraphs>
  <Slides>15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Arial</vt:lpstr>
      <vt:lpstr>BankGothic Md BT</vt:lpstr>
      <vt:lpstr>Calibri</vt:lpstr>
      <vt:lpstr>Lato</vt:lpstr>
      <vt:lpstr>Segoe UI</vt:lpstr>
      <vt:lpstr>Times New Roman</vt:lpstr>
      <vt:lpstr>Titillium</vt:lpstr>
      <vt:lpstr>Titillium Bd</vt:lpstr>
      <vt:lpstr>TITLE Layouts</vt:lpstr>
      <vt:lpstr>AGENDA Layouts</vt:lpstr>
      <vt:lpstr>CONTENT Layouts</vt:lpstr>
      <vt:lpstr>think-cell Slide</vt:lpstr>
      <vt:lpstr>PowerPoint Presentation</vt:lpstr>
      <vt:lpstr>PowerPoint Presentation</vt:lpstr>
      <vt:lpstr>Save time and money on remote access deployment costs</vt:lpstr>
      <vt:lpstr>Quickly deploy a complete IIoT solu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Red Lion Control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olin Geis</dc:creator>
  <cp:lastModifiedBy>Barry Turner</cp:lastModifiedBy>
  <cp:revision>136</cp:revision>
  <dcterms:created xsi:type="dcterms:W3CDTF">2020-08-11T15:24:39Z</dcterms:created>
  <dcterms:modified xsi:type="dcterms:W3CDTF">2022-02-15T12:25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7FF888EE8CDAE43B1B60A6FB8101042</vt:lpwstr>
  </property>
  <property fmtid="{D5CDD505-2E9C-101B-9397-08002B2CF9AE}" pid="3" name="MSIP_Label_ff7e01cc-5b14-4415-bc54-c7fd698f74a3_Enabled">
    <vt:lpwstr>true</vt:lpwstr>
  </property>
  <property fmtid="{D5CDD505-2E9C-101B-9397-08002B2CF9AE}" pid="4" name="MSIP_Label_ff7e01cc-5b14-4415-bc54-c7fd698f74a3_SetDate">
    <vt:lpwstr>2022-02-15T12:25:04Z</vt:lpwstr>
  </property>
  <property fmtid="{D5CDD505-2E9C-101B-9397-08002B2CF9AE}" pid="5" name="MSIP_Label_ff7e01cc-5b14-4415-bc54-c7fd698f74a3_Method">
    <vt:lpwstr>Privileged</vt:lpwstr>
  </property>
  <property fmtid="{D5CDD505-2E9C-101B-9397-08002B2CF9AE}" pid="6" name="MSIP_Label_ff7e01cc-5b14-4415-bc54-c7fd698f74a3_Name">
    <vt:lpwstr>Corporate</vt:lpwstr>
  </property>
  <property fmtid="{D5CDD505-2E9C-101B-9397-08002B2CF9AE}" pid="7" name="MSIP_Label_ff7e01cc-5b14-4415-bc54-c7fd698f74a3_SiteId">
    <vt:lpwstr>247aee67-12cb-4195-acc7-03a2905017c7</vt:lpwstr>
  </property>
  <property fmtid="{D5CDD505-2E9C-101B-9397-08002B2CF9AE}" pid="8" name="MSIP_Label_ff7e01cc-5b14-4415-bc54-c7fd698f74a3_ActionId">
    <vt:lpwstr>b61d765d-b52c-4225-aebc-0d2bff2d60e6</vt:lpwstr>
  </property>
  <property fmtid="{D5CDD505-2E9C-101B-9397-08002B2CF9AE}" pid="9" name="MSIP_Label_ff7e01cc-5b14-4415-bc54-c7fd698f74a3_ContentBits">
    <vt:lpwstr>2</vt:lpwstr>
  </property>
</Properties>
</file>